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tif" ContentType="image/tif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1.xml" ContentType="application/vnd.openxmlformats-officedocument.presentationml.notesSlide+xml"/>
  <Override PartName="/ppt/tags/tag9.xml" ContentType="application/vnd.openxmlformats-officedocument.presentationml.tags+xml"/>
  <Override PartName="/ppt/notesSlides/notesSlide2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3.xml" ContentType="application/vnd.openxmlformats-officedocument.presentationml.notesSlide+xml"/>
  <Override PartName="/ppt/tags/tag13.xml" ContentType="application/vnd.openxmlformats-officedocument.presentationml.tags+xml"/>
  <Override PartName="/ppt/notesSlides/notesSlide4.xml" ContentType="application/vnd.openxmlformats-officedocument.presentationml.notesSlide+xml"/>
  <Override PartName="/ppt/tags/tag14.xml" ContentType="application/vnd.openxmlformats-officedocument.presentationml.tags+xml"/>
  <Override PartName="/ppt/notesSlides/notesSlide5.xml" ContentType="application/vnd.openxmlformats-officedocument.presentationml.notesSlide+xml"/>
  <Override PartName="/ppt/tags/tag15.xml" ContentType="application/vnd.openxmlformats-officedocument.presentationml.tags+xml"/>
  <Override PartName="/ppt/notesSlides/notesSlide6.xml" ContentType="application/vnd.openxmlformats-officedocument.presentationml.notesSlid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7.xml" ContentType="application/vnd.openxmlformats-officedocument.presentationml.notesSlid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13"/>
  </p:notesMasterIdLst>
  <p:sldIdLst>
    <p:sldId id="295" r:id="rId2"/>
    <p:sldId id="285" r:id="rId3"/>
    <p:sldId id="287" r:id="rId4"/>
    <p:sldId id="288" r:id="rId5"/>
    <p:sldId id="290" r:id="rId6"/>
    <p:sldId id="289" r:id="rId7"/>
    <p:sldId id="293" r:id="rId8"/>
    <p:sldId id="292" r:id="rId9"/>
    <p:sldId id="294" r:id="rId10"/>
    <p:sldId id="291" r:id="rId11"/>
    <p:sldId id="261" r:id="rId12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3A82B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11"/>
    <p:restoredTop sz="94674"/>
  </p:normalViewPr>
  <p:slideViewPr>
    <p:cSldViewPr snapToGrid="0" snapToObjects="1">
      <p:cViewPr varScale="1">
        <p:scale>
          <a:sx n="66" d="100"/>
          <a:sy n="66" d="100"/>
        </p:scale>
        <p:origin x="644" y="4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B3828FA-A1C6-4913-ABB8-9C7AF331F46E}" type="datetimeFigureOut">
              <a:rPr lang="zh-CN" altLang="en-US" smtClean="0"/>
              <a:t>2018-11-4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8B0A4C9-4816-4676-A5BD-EAB32D8ED5F8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4527647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18574B6-0D4A-43AC-811D-6654E5379EC0}" type="slidenum">
              <a:rPr lang="zh-CN" altLang="en-US" smtClean="0"/>
              <a:t>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16414390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18574B6-0D4A-43AC-811D-6654E5379EC0}" type="slidenum">
              <a:rPr lang="zh-CN" altLang="en-US" smtClean="0"/>
              <a:t>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67025433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zh-CN" dirty="0" smtClean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18574B6-0D4A-43AC-811D-6654E5379EC0}" type="slidenum">
              <a:rPr lang="zh-CN" altLang="en-US" smtClean="0"/>
              <a:t>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86759435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18574B6-0D4A-43AC-811D-6654E5379EC0}" type="slidenum">
              <a:rPr lang="zh-CN" altLang="en-US" smtClean="0"/>
              <a:t>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8418175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18574B6-0D4A-43AC-811D-6654E5379EC0}" type="slidenum">
              <a:rPr lang="zh-CN" altLang="en-US" smtClean="0"/>
              <a:t>7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3186153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18574B6-0D4A-43AC-811D-6654E5379EC0}" type="slidenum">
              <a:rPr lang="zh-CN" altLang="en-US" smtClean="0"/>
              <a:t>8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05834097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18574B6-0D4A-43AC-811D-6654E5379EC0}" type="slidenum">
              <a:rPr lang="zh-CN" altLang="en-US" smtClean="0"/>
              <a:t>9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47564632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18574B6-0D4A-43AC-811D-6654E5379EC0}" type="slidenum">
              <a:rPr lang="zh-CN" altLang="en-US" smtClean="0"/>
              <a:t>10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5149174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jpg"/><Relationship Id="rId4" Type="http://schemas.openxmlformats.org/officeDocument/2006/relationships/image" Target="../media/image4.png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8" name="图片 7" descr="logo.png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0098"/>
          <a:stretch/>
        </p:blipFill>
        <p:spPr>
          <a:xfrm>
            <a:off x="9998739" y="468325"/>
            <a:ext cx="1735039" cy="487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077243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41258" cy="6858000"/>
          </a:xfrm>
          <a:prstGeom prst="rect">
            <a:avLst/>
          </a:prstGeom>
        </p:spPr>
      </p:pic>
      <p:pic>
        <p:nvPicPr>
          <p:cNvPr id="4" name="图片 3" descr="logo.png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0098"/>
          <a:stretch/>
        </p:blipFill>
        <p:spPr>
          <a:xfrm>
            <a:off x="9998739" y="468325"/>
            <a:ext cx="1735039" cy="487217"/>
          </a:xfrm>
          <a:prstGeom prst="rect">
            <a:avLst/>
          </a:prstGeom>
        </p:spPr>
      </p:pic>
      <p:sp>
        <p:nvSpPr>
          <p:cNvPr id="5" name="文本框 4"/>
          <p:cNvSpPr txBox="1"/>
          <p:nvPr userDrawn="1"/>
        </p:nvSpPr>
        <p:spPr>
          <a:xfrm>
            <a:off x="1583338" y="955542"/>
            <a:ext cx="2863609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6000" dirty="0" smtClean="0">
                <a:solidFill>
                  <a:srgbClr val="2E96C8"/>
                </a:solidFill>
                <a:latin typeface="Arial" charset="0"/>
                <a:ea typeface="Arial" charset="0"/>
                <a:cs typeface="Arial" charset="0"/>
              </a:rPr>
              <a:t>Content</a:t>
            </a:r>
            <a:endParaRPr lang="zh-CN" altLang="en-US" sz="6000" dirty="0">
              <a:solidFill>
                <a:srgbClr val="2E96C8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6" name="文本框 5"/>
          <p:cNvSpPr txBox="1"/>
          <p:nvPr userDrawn="1"/>
        </p:nvSpPr>
        <p:spPr>
          <a:xfrm>
            <a:off x="4446947" y="1318221"/>
            <a:ext cx="1084944" cy="535531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indent="0" defTabSz="9144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3200" b="1">
                <a:solidFill>
                  <a:schemeClr val="accent1"/>
                </a:solidFill>
                <a:cs typeface="+mn-ea"/>
              </a:defRPr>
            </a:lvl1pPr>
            <a:lvl2pPr marL="6858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zh-CN" altLang="en-US" b="0" dirty="0" smtClean="0">
                <a:solidFill>
                  <a:srgbClr val="3982B9"/>
                </a:solidFill>
                <a:latin typeface="Microsoft YaHei" charset="-122"/>
                <a:ea typeface="Microsoft YaHei" charset="-122"/>
                <a:cs typeface="Microsoft YaHei" charset="-122"/>
                <a:sym typeface="+mn-lt"/>
              </a:rPr>
              <a:t>目录</a:t>
            </a:r>
            <a:endParaRPr lang="zh-CN" altLang="en-US" b="0" dirty="0">
              <a:solidFill>
                <a:srgbClr val="3982B9"/>
              </a:solidFill>
              <a:latin typeface="Microsoft YaHei" charset="-122"/>
              <a:ea typeface="Microsoft YaHei" charset="-122"/>
              <a:cs typeface="Microsoft YaHei" charset="-122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51373647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41258" cy="6858000"/>
          </a:xfrm>
          <a:prstGeom prst="rect">
            <a:avLst/>
          </a:prstGeom>
        </p:spPr>
      </p:pic>
      <p:sp>
        <p:nvSpPr>
          <p:cNvPr id="4" name="圆角矩形 3"/>
          <p:cNvSpPr/>
          <p:nvPr userDrawn="1"/>
        </p:nvSpPr>
        <p:spPr>
          <a:xfrm>
            <a:off x="4601816" y="2202362"/>
            <a:ext cx="2052051" cy="720904"/>
          </a:xfrm>
          <a:prstGeom prst="roundRect">
            <a:avLst/>
          </a:prstGeom>
          <a:solidFill>
            <a:srgbClr val="0093C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>
              <a:solidFill>
                <a:srgbClr val="0093CA"/>
              </a:solidFill>
            </a:endParaRPr>
          </a:p>
        </p:txBody>
      </p:sp>
      <p:sp>
        <p:nvSpPr>
          <p:cNvPr id="5" name="三角形 4"/>
          <p:cNvSpPr/>
          <p:nvPr userDrawn="1"/>
        </p:nvSpPr>
        <p:spPr>
          <a:xfrm rot="10800000">
            <a:off x="4979349" y="2866435"/>
            <a:ext cx="478478" cy="306742"/>
          </a:xfrm>
          <a:prstGeom prst="triangle">
            <a:avLst/>
          </a:prstGeom>
          <a:solidFill>
            <a:srgbClr val="0093C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pic>
        <p:nvPicPr>
          <p:cNvPr id="10" name="图片 9" descr="logo.png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0098"/>
          <a:stretch/>
        </p:blipFill>
        <p:spPr>
          <a:xfrm>
            <a:off x="9998739" y="468325"/>
            <a:ext cx="1735039" cy="487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007534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任意形状 2"/>
          <p:cNvSpPr/>
          <p:nvPr userDrawn="1"/>
        </p:nvSpPr>
        <p:spPr>
          <a:xfrm>
            <a:off x="378941" y="337751"/>
            <a:ext cx="766118" cy="1079157"/>
          </a:xfrm>
          <a:custGeom>
            <a:avLst/>
            <a:gdLst>
              <a:gd name="connsiteX0" fmla="*/ 757881 w 766118"/>
              <a:gd name="connsiteY0" fmla="*/ 856735 h 1079157"/>
              <a:gd name="connsiteX1" fmla="*/ 766118 w 766118"/>
              <a:gd name="connsiteY1" fmla="*/ 1079157 h 1079157"/>
              <a:gd name="connsiteX2" fmla="*/ 0 w 766118"/>
              <a:gd name="connsiteY2" fmla="*/ 1079157 h 1079157"/>
              <a:gd name="connsiteX3" fmla="*/ 0 w 766118"/>
              <a:gd name="connsiteY3" fmla="*/ 0 h 1079157"/>
              <a:gd name="connsiteX4" fmla="*/ 757881 w 766118"/>
              <a:gd name="connsiteY4" fmla="*/ 8238 h 1079157"/>
              <a:gd name="connsiteX5" fmla="*/ 757881 w 766118"/>
              <a:gd name="connsiteY5" fmla="*/ 222422 h 10791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6118" h="1079157">
                <a:moveTo>
                  <a:pt x="757881" y="856735"/>
                </a:moveTo>
                <a:lnTo>
                  <a:pt x="766118" y="1079157"/>
                </a:lnTo>
                <a:lnTo>
                  <a:pt x="0" y="1079157"/>
                </a:lnTo>
                <a:lnTo>
                  <a:pt x="0" y="0"/>
                </a:lnTo>
                <a:lnTo>
                  <a:pt x="757881" y="8238"/>
                </a:lnTo>
                <a:lnTo>
                  <a:pt x="757881" y="222422"/>
                </a:lnTo>
              </a:path>
            </a:pathLst>
          </a:custGeom>
          <a:noFill/>
          <a:ln w="28575">
            <a:solidFill>
              <a:srgbClr val="0093C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pic>
        <p:nvPicPr>
          <p:cNvPr id="4" name="图片 3" descr="logo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0098"/>
          <a:stretch/>
        </p:blipFill>
        <p:spPr>
          <a:xfrm>
            <a:off x="9998739" y="468325"/>
            <a:ext cx="1735039" cy="487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604519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kumimoji="1" lang="zh-CN" altLang="en-US" smtClean="0"/>
              <a:t>单击此处编辑母版标题样式</a:t>
            </a:r>
            <a:endParaRPr kumimoji="1" lang="zh-CN" altLang="en-US"/>
          </a:p>
        </p:txBody>
      </p:sp>
      <p:pic>
        <p:nvPicPr>
          <p:cNvPr id="3" name="图片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41258" cy="6858000"/>
          </a:xfrm>
          <a:prstGeom prst="rect">
            <a:avLst/>
          </a:prstGeom>
        </p:spPr>
      </p:pic>
      <p:pic>
        <p:nvPicPr>
          <p:cNvPr id="4" name="图片 3" descr="logo.png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0098"/>
          <a:stretch/>
        </p:blipFill>
        <p:spPr>
          <a:xfrm>
            <a:off x="9998739" y="468325"/>
            <a:ext cx="1735039" cy="487217"/>
          </a:xfrm>
          <a:prstGeom prst="rect">
            <a:avLst/>
          </a:prstGeom>
        </p:spPr>
      </p:pic>
      <p:pic>
        <p:nvPicPr>
          <p:cNvPr id="5" name="图片 4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95728" y="2985989"/>
            <a:ext cx="7400544" cy="2855976"/>
          </a:xfrm>
          <a:prstGeom prst="rect">
            <a:avLst/>
          </a:prstGeom>
        </p:spPr>
      </p:pic>
      <p:pic>
        <p:nvPicPr>
          <p:cNvPr id="6" name="图片 5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01471" y="1104756"/>
            <a:ext cx="2589057" cy="25890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687485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图片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9771" y="6359570"/>
            <a:ext cx="1571429" cy="361905"/>
          </a:xfrm>
          <a:prstGeom prst="rect">
            <a:avLst/>
          </a:prstGeom>
        </p:spPr>
      </p:pic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zh-CN" altLang="en-US" dirty="0" smtClean="0"/>
              <a:t>单击此处编辑母版标题样式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20000"/>
              </a:lnSpc>
              <a:buFont typeface="+mj-lt"/>
              <a:buNone/>
              <a:defRPr/>
            </a:lvl1pPr>
            <a:lvl2pPr marL="457200" indent="0">
              <a:lnSpc>
                <a:spcPct val="120000"/>
              </a:lnSpc>
              <a:buFont typeface="+mj-lt"/>
              <a:buNone/>
              <a:defRPr/>
            </a:lvl2pPr>
            <a:lvl3pPr marL="914400" indent="0">
              <a:lnSpc>
                <a:spcPct val="120000"/>
              </a:lnSpc>
              <a:buFont typeface="+mj-lt"/>
              <a:buNone/>
              <a:defRPr/>
            </a:lvl3pPr>
            <a:lvl4pPr marL="1371600" indent="0">
              <a:lnSpc>
                <a:spcPct val="120000"/>
              </a:lnSpc>
              <a:buFont typeface="+mj-lt"/>
              <a:buNone/>
              <a:defRPr/>
            </a:lvl4pPr>
            <a:lvl5pPr marL="1828800" indent="0">
              <a:lnSpc>
                <a:spcPct val="120000"/>
              </a:lnSpc>
              <a:buFont typeface="+mj-lt"/>
              <a:buNone/>
              <a:defRPr/>
            </a:lvl5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C13F2B5-1458-4205-8013-12B8F184D755}" type="datetimeFigureOut">
              <a:rPr lang="zh-CN" altLang="en-US" smtClean="0"/>
              <a:t>2018-11-4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18D40CA5-76CC-442B-9DF7-51F7EDC74D0B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82842272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881195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3" r:id="rId4"/>
    <p:sldLayoutId id="2147483654" r:id="rId5"/>
    <p:sldLayoutId id="2147483657" r:id="rId6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5" Type="http://schemas.openxmlformats.org/officeDocument/2006/relationships/image" Target="../media/image18.jpg"/><Relationship Id="rId4" Type="http://schemas.openxmlformats.org/officeDocument/2006/relationships/notesSlide" Target="../notesSlides/notesSlide8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image" Target="../media/image7.tif"/><Relationship Id="rId5" Type="http://schemas.openxmlformats.org/officeDocument/2006/relationships/tags" Target="../tags/tag5.xml"/><Relationship Id="rId10" Type="http://schemas.openxmlformats.org/officeDocument/2006/relationships/notesSlide" Target="../notesSlides/notesSlide1.xml"/><Relationship Id="rId4" Type="http://schemas.openxmlformats.org/officeDocument/2006/relationships/tags" Target="../tags/tag4.xml"/><Relationship Id="rId9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9.xml"/><Relationship Id="rId6" Type="http://schemas.openxmlformats.org/officeDocument/2006/relationships/image" Target="../media/image7.tif"/><Relationship Id="rId5" Type="http://schemas.openxmlformats.org/officeDocument/2006/relationships/image" Target="../media/image9.jpg"/><Relationship Id="rId4" Type="http://schemas.openxmlformats.org/officeDocument/2006/relationships/image" Target="../media/image8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0.xml"/><Relationship Id="rId4" Type="http://schemas.openxmlformats.org/officeDocument/2006/relationships/image" Target="../media/image11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5" Type="http://schemas.openxmlformats.org/officeDocument/2006/relationships/image" Target="../media/image12.jpeg"/><Relationship Id="rId4" Type="http://schemas.openxmlformats.org/officeDocument/2006/relationships/notesSlide" Target="../notesSlides/notesSlide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3.xml"/><Relationship Id="rId4" Type="http://schemas.openxmlformats.org/officeDocument/2006/relationships/image" Target="../media/image13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4.xml"/><Relationship Id="rId4" Type="http://schemas.openxmlformats.org/officeDocument/2006/relationships/image" Target="../media/image14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5.xml"/><Relationship Id="rId4" Type="http://schemas.openxmlformats.org/officeDocument/2006/relationships/image" Target="../media/image15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jpeg"/><Relationship Id="rId3" Type="http://schemas.openxmlformats.org/officeDocument/2006/relationships/tags" Target="../tags/tag18.xml"/><Relationship Id="rId7" Type="http://schemas.openxmlformats.org/officeDocument/2006/relationships/image" Target="../media/image16.png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6" Type="http://schemas.openxmlformats.org/officeDocument/2006/relationships/notesSlide" Target="../notesSlides/notesSlide7.xml"/><Relationship Id="rId5" Type="http://schemas.openxmlformats.org/officeDocument/2006/relationships/slideLayout" Target="../slideLayouts/slideLayout4.xml"/><Relationship Id="rId4" Type="http://schemas.openxmlformats.org/officeDocument/2006/relationships/tags" Target="../tags/tag1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文本框 3"/>
          <p:cNvSpPr txBox="1"/>
          <p:nvPr/>
        </p:nvSpPr>
        <p:spPr>
          <a:xfrm>
            <a:off x="673331" y="1260837"/>
            <a:ext cx="10416255" cy="1106970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indent="0" defTabSz="9144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3200" b="1">
                <a:solidFill>
                  <a:schemeClr val="accent1"/>
                </a:solidFill>
                <a:cs typeface="+mn-ea"/>
              </a:defRPr>
            </a:lvl1pPr>
            <a:lvl2pPr marL="6858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algn="ctr"/>
            <a:r>
              <a:rPr lang="en-US" altLang="zh-CN" spc="300" dirty="0" smtClean="0">
                <a:solidFill>
                  <a:srgbClr val="3A82BB"/>
                </a:solidFill>
                <a:latin typeface="Microsoft YaHei" charset="-122"/>
                <a:ea typeface="Microsoft YaHei" charset="-122"/>
                <a:cs typeface="Microsoft YaHei" charset="-122"/>
                <a:sym typeface="+mn-lt"/>
              </a:rPr>
              <a:t>Chinese Power Equipment Manufacturing </a:t>
            </a:r>
          </a:p>
          <a:p>
            <a:pPr algn="ctr"/>
            <a:r>
              <a:rPr lang="en-US" altLang="zh-CN" spc="300" dirty="0" smtClean="0">
                <a:solidFill>
                  <a:srgbClr val="3A82BB"/>
                </a:solidFill>
                <a:latin typeface="Microsoft YaHei" charset="-122"/>
                <a:ea typeface="Microsoft YaHei" charset="-122"/>
                <a:cs typeface="Microsoft YaHei" charset="-122"/>
                <a:sym typeface="+mn-lt"/>
              </a:rPr>
              <a:t>Promote China-Arab Energy Collaboration</a:t>
            </a:r>
            <a:endParaRPr lang="zh-CN" altLang="en-US" spc="300" dirty="0">
              <a:solidFill>
                <a:srgbClr val="3A82BB"/>
              </a:solidFill>
              <a:latin typeface="Microsoft YaHei" charset="-122"/>
              <a:ea typeface="Microsoft YaHei" charset="-122"/>
              <a:cs typeface="Microsoft YaHei" charset="-122"/>
              <a:sym typeface="+mn-lt"/>
            </a:endParaRPr>
          </a:p>
        </p:txBody>
      </p:sp>
      <p:sp>
        <p:nvSpPr>
          <p:cNvPr id="5" name="文本框 4"/>
          <p:cNvSpPr txBox="1"/>
          <p:nvPr/>
        </p:nvSpPr>
        <p:spPr>
          <a:xfrm>
            <a:off x="1352028" y="6057629"/>
            <a:ext cx="9753600" cy="369332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indent="0" defTabSz="9144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3200" b="1">
                <a:solidFill>
                  <a:schemeClr val="accent1"/>
                </a:solidFill>
                <a:cs typeface="+mn-ea"/>
              </a:defRPr>
            </a:lvl1pPr>
            <a:lvl2pPr marL="6858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algn="ctr"/>
            <a:r>
              <a:rPr lang="en-US" altLang="zh-CN" sz="2000" b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  <a:sym typeface="+mn-lt"/>
              </a:rPr>
              <a:t>Shanghai Electric Group Co., Ltd.</a:t>
            </a:r>
            <a:endParaRPr lang="zh-CN" altLang="en-US" sz="2000" b="0" dirty="0">
              <a:solidFill>
                <a:schemeClr val="tx1">
                  <a:lumMod val="85000"/>
                  <a:lumOff val="15000"/>
                </a:schemeClr>
              </a:solidFill>
              <a:latin typeface="Microsoft YaHei" charset="-122"/>
              <a:ea typeface="Microsoft YaHei" charset="-122"/>
              <a:cs typeface="Microsoft YaHei" charset="-122"/>
              <a:sym typeface="+mn-lt"/>
            </a:endParaRPr>
          </a:p>
        </p:txBody>
      </p:sp>
      <p:sp>
        <p:nvSpPr>
          <p:cNvPr id="6" name="文本框 5"/>
          <p:cNvSpPr txBox="1"/>
          <p:nvPr/>
        </p:nvSpPr>
        <p:spPr>
          <a:xfrm>
            <a:off x="1119447" y="2613826"/>
            <a:ext cx="9753600" cy="424732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indent="0" defTabSz="9144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3200" b="1">
                <a:solidFill>
                  <a:schemeClr val="accent1"/>
                </a:solidFill>
                <a:cs typeface="+mn-ea"/>
              </a:defRPr>
            </a:lvl1pPr>
            <a:lvl2pPr marL="6858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algn="ctr"/>
            <a:r>
              <a:rPr lang="en-US" altLang="zh-CN" sz="2400" b="0" dirty="0" smtClean="0">
                <a:solidFill>
                  <a:srgbClr val="3A82BB"/>
                </a:solidFill>
                <a:latin typeface="Microsoft YaHei" charset="-122"/>
                <a:ea typeface="Microsoft YaHei" charset="-122"/>
                <a:cs typeface="Microsoft YaHei" charset="-122"/>
                <a:sym typeface="+mn-lt"/>
              </a:rPr>
              <a:t>November 6</a:t>
            </a:r>
            <a:r>
              <a:rPr lang="en-US" altLang="zh-CN" sz="2400" b="0" baseline="30000" dirty="0" smtClean="0">
                <a:solidFill>
                  <a:srgbClr val="3A82BB"/>
                </a:solidFill>
                <a:latin typeface="Microsoft YaHei" charset="-122"/>
                <a:ea typeface="Microsoft YaHei" charset="-122"/>
                <a:cs typeface="Microsoft YaHei" charset="-122"/>
                <a:sym typeface="+mn-lt"/>
              </a:rPr>
              <a:t>th</a:t>
            </a:r>
            <a:r>
              <a:rPr lang="en-US" altLang="zh-CN" sz="2400" b="0" dirty="0" smtClean="0">
                <a:solidFill>
                  <a:srgbClr val="3A82BB"/>
                </a:solidFill>
                <a:latin typeface="Microsoft YaHei" charset="-122"/>
                <a:ea typeface="Microsoft YaHei" charset="-122"/>
                <a:cs typeface="Microsoft YaHei" charset="-122"/>
                <a:sym typeface="+mn-lt"/>
              </a:rPr>
              <a:t>, 2018</a:t>
            </a:r>
            <a:endParaRPr lang="zh-CN" altLang="en-US" sz="2400" b="0" dirty="0">
              <a:solidFill>
                <a:srgbClr val="3A82BB"/>
              </a:solidFill>
              <a:latin typeface="Microsoft YaHei" charset="-122"/>
              <a:ea typeface="Microsoft YaHei" charset="-122"/>
              <a:cs typeface="Microsoft YaHei" charset="-122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6203043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558329"/>
            <a:ext cx="12192000" cy="5299671"/>
          </a:xfrm>
          <a:prstGeom prst="rect">
            <a:avLst/>
          </a:prstGeom>
        </p:spPr>
      </p:pic>
      <p:cxnSp>
        <p:nvCxnSpPr>
          <p:cNvPr id="5" name="直接连接符 36"/>
          <p:cNvCxnSpPr>
            <a:cxnSpLocks noChangeShapeType="1"/>
          </p:cNvCxnSpPr>
          <p:nvPr/>
        </p:nvCxnSpPr>
        <p:spPr bwMode="auto">
          <a:xfrm>
            <a:off x="-309979" y="1544213"/>
            <a:ext cx="13050000" cy="0"/>
          </a:xfrm>
          <a:prstGeom prst="line">
            <a:avLst/>
          </a:prstGeom>
          <a:noFill/>
          <a:ln w="9525" algn="ctr">
            <a:solidFill>
              <a:srgbClr val="8BCC34"/>
            </a:solidFill>
            <a:round/>
            <a:headEnd/>
            <a:tailEnd/>
          </a:ln>
        </p:spPr>
      </p:cxnSp>
      <p:sp>
        <p:nvSpPr>
          <p:cNvPr id="3" name="矩形 2"/>
          <p:cNvSpPr/>
          <p:nvPr/>
        </p:nvSpPr>
        <p:spPr>
          <a:xfrm>
            <a:off x="966000" y="1555329"/>
            <a:ext cx="6054158" cy="424732"/>
          </a:xfrm>
          <a:prstGeom prst="rect">
            <a:avLst/>
          </a:prstGeom>
          <a:solidFill>
            <a:srgbClr val="6CC13C"/>
          </a:solidFill>
          <a:ln w="25400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>
            <a:spAutoFit/>
          </a:bodyPr>
          <a:lstStyle/>
          <a:p>
            <a:pPr>
              <a:lnSpc>
                <a:spcPct val="120000"/>
              </a:lnSpc>
            </a:pPr>
            <a:r>
              <a:rPr lang="en-US" altLang="zh-CN" b="1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        </a:t>
            </a:r>
            <a:r>
              <a:rPr lang="en-US" altLang="zh-CN" b="1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Wassit</a:t>
            </a:r>
            <a:r>
              <a:rPr lang="en-US" altLang="zh-CN" b="1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Thermal Power </a:t>
            </a:r>
            <a:r>
              <a:rPr lang="en-US" altLang="zh-CN" b="1" dirty="0" smtClean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lant Phase I &amp; II</a:t>
            </a:r>
            <a:endParaRPr lang="en-US" altLang="zh-CN" b="1" dirty="0">
              <a:solidFill>
                <a:schemeClr val="bg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8" name="TextBox 11"/>
          <p:cNvSpPr txBox="1">
            <a:spLocks noChangeArrowheads="1"/>
          </p:cNvSpPr>
          <p:nvPr/>
        </p:nvSpPr>
        <p:spPr bwMode="auto">
          <a:xfrm>
            <a:off x="8751000" y="1719000"/>
            <a:ext cx="3285000" cy="4312399"/>
          </a:xfrm>
          <a:prstGeom prst="rect">
            <a:avLst/>
          </a:prstGeom>
          <a:solidFill>
            <a:srgbClr val="194CA1">
              <a:alpha val="63922"/>
            </a:srgbClr>
          </a:solidFill>
          <a:ln w="25400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pPr marL="291551" indent="-291551">
              <a:lnSpc>
                <a:spcPct val="120000"/>
              </a:lnSpc>
              <a:buFont typeface="Wingdings" pitchFamily="2" charset="2"/>
              <a:buChar char="l"/>
              <a:defRPr/>
            </a:pPr>
            <a:r>
              <a:rPr lang="en-US" altLang="zh-CN" sz="1837" b="1" dirty="0">
                <a:solidFill>
                  <a:schemeClr val="bg1"/>
                </a:solidFill>
                <a:latin typeface="Segoe UI Light" panose="020B0502040204020203" pitchFamily="34" charset="0"/>
              </a:rPr>
              <a:t>Client:</a:t>
            </a:r>
          </a:p>
          <a:p>
            <a:pPr lvl="1">
              <a:lnSpc>
                <a:spcPct val="120000"/>
              </a:lnSpc>
            </a:pPr>
            <a:r>
              <a:rPr lang="en-US" altLang="zh-CN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Ministry of Electricity of </a:t>
            </a:r>
            <a:r>
              <a:rPr lang="en-US" altLang="zh-CN" dirty="0" smtClean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Iraq</a:t>
            </a:r>
          </a:p>
          <a:p>
            <a:pPr marL="291551" indent="-291551">
              <a:lnSpc>
                <a:spcPct val="120000"/>
              </a:lnSpc>
              <a:buFont typeface="Wingdings" pitchFamily="2" charset="2"/>
              <a:buChar char="l"/>
              <a:defRPr/>
            </a:pPr>
            <a:r>
              <a:rPr lang="en-US" altLang="zh-CN" sz="1837" b="1" dirty="0">
                <a:solidFill>
                  <a:schemeClr val="bg1"/>
                </a:solidFill>
                <a:latin typeface="Segoe UI Light" panose="020B0502040204020203" pitchFamily="34" charset="0"/>
              </a:rPr>
              <a:t>Capacity &amp; Fuel:</a:t>
            </a:r>
          </a:p>
          <a:p>
            <a:pPr lvl="1">
              <a:lnSpc>
                <a:spcPct val="120000"/>
              </a:lnSpc>
            </a:pPr>
            <a:r>
              <a:rPr lang="en-US" altLang="zh-CN" dirty="0" smtClean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1: 4×330MW Oil fired</a:t>
            </a:r>
          </a:p>
          <a:p>
            <a:pPr lvl="1">
              <a:lnSpc>
                <a:spcPct val="120000"/>
              </a:lnSpc>
            </a:pPr>
            <a:r>
              <a:rPr lang="en-US" altLang="zh-CN" dirty="0" smtClean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2: 2 X610MW</a:t>
            </a:r>
          </a:p>
          <a:p>
            <a:pPr marL="291551" indent="-291551">
              <a:buFont typeface="Wingdings" pitchFamily="2" charset="2"/>
              <a:buChar char="l"/>
              <a:defRPr/>
            </a:pPr>
            <a:r>
              <a:rPr lang="en-US" altLang="zh-CN" sz="1837" b="1" dirty="0">
                <a:solidFill>
                  <a:schemeClr val="bg1"/>
                </a:solidFill>
                <a:latin typeface="Segoe UI Light" panose="020B0502040204020203" pitchFamily="34" charset="0"/>
              </a:rPr>
              <a:t>COD: </a:t>
            </a:r>
          </a:p>
          <a:p>
            <a:pPr lvl="1">
              <a:defRPr/>
            </a:pPr>
            <a:r>
              <a:rPr lang="en-US" altLang="zh-CN" sz="1837" dirty="0">
                <a:solidFill>
                  <a:schemeClr val="bg1"/>
                </a:solidFill>
                <a:latin typeface="Segoe UI Light" panose="020B0502040204020203" pitchFamily="34" charset="0"/>
              </a:rPr>
              <a:t>Unit 1: August, 2013</a:t>
            </a:r>
          </a:p>
          <a:p>
            <a:pPr lvl="1">
              <a:defRPr/>
            </a:pPr>
            <a:r>
              <a:rPr lang="en-US" altLang="zh-CN" sz="1837" dirty="0">
                <a:solidFill>
                  <a:schemeClr val="bg1"/>
                </a:solidFill>
                <a:latin typeface="Segoe UI Light" panose="020B0502040204020203" pitchFamily="34" charset="0"/>
              </a:rPr>
              <a:t>Unit 2: June, 2013</a:t>
            </a:r>
          </a:p>
          <a:p>
            <a:pPr lvl="1">
              <a:defRPr/>
            </a:pPr>
            <a:r>
              <a:rPr lang="en-US" altLang="zh-CN" sz="1837" dirty="0">
                <a:solidFill>
                  <a:schemeClr val="bg1"/>
                </a:solidFill>
                <a:latin typeface="Segoe UI Light" panose="020B0502040204020203" pitchFamily="34" charset="0"/>
              </a:rPr>
              <a:t>Unit 3: December, 2013</a:t>
            </a:r>
          </a:p>
          <a:p>
            <a:pPr lvl="1">
              <a:defRPr/>
            </a:pPr>
            <a:r>
              <a:rPr lang="en-US" altLang="zh-CN" sz="1837" dirty="0">
                <a:solidFill>
                  <a:schemeClr val="bg1"/>
                </a:solidFill>
                <a:latin typeface="Segoe UI Light" panose="020B0502040204020203" pitchFamily="34" charset="0"/>
              </a:rPr>
              <a:t>Unit 4: April, 2014</a:t>
            </a:r>
          </a:p>
          <a:p>
            <a:pPr lvl="1">
              <a:defRPr/>
            </a:pPr>
            <a:r>
              <a:rPr lang="en-US" altLang="zh-CN" sz="1837" dirty="0">
                <a:solidFill>
                  <a:schemeClr val="bg1"/>
                </a:solidFill>
                <a:latin typeface="Segoe UI Light" panose="020B0502040204020203" pitchFamily="34" charset="0"/>
              </a:rPr>
              <a:t>Unit 5: June, 2015</a:t>
            </a:r>
          </a:p>
          <a:p>
            <a:pPr lvl="1">
              <a:defRPr/>
            </a:pPr>
            <a:r>
              <a:rPr lang="en-US" altLang="zh-CN" sz="1837" dirty="0">
                <a:solidFill>
                  <a:schemeClr val="bg1"/>
                </a:solidFill>
                <a:latin typeface="Segoe UI Light" panose="020B0502040204020203" pitchFamily="34" charset="0"/>
              </a:rPr>
              <a:t>Unit 6: June, </a:t>
            </a:r>
            <a:r>
              <a:rPr lang="en-US" altLang="zh-CN" sz="1837" dirty="0" smtClean="0">
                <a:solidFill>
                  <a:schemeClr val="bg1"/>
                </a:solidFill>
                <a:latin typeface="Segoe UI Light" panose="020B0502040204020203" pitchFamily="34" charset="0"/>
              </a:rPr>
              <a:t>2015</a:t>
            </a:r>
          </a:p>
          <a:p>
            <a:pPr marL="291551" indent="-291551">
              <a:buFont typeface="Wingdings" pitchFamily="2" charset="2"/>
              <a:buChar char="l"/>
              <a:defRPr/>
            </a:pPr>
            <a:r>
              <a:rPr lang="en-US" altLang="zh-CN" sz="1837" b="1" dirty="0">
                <a:solidFill>
                  <a:schemeClr val="bg1"/>
                </a:solidFill>
                <a:latin typeface="Segoe UI Light" panose="020B0502040204020203" pitchFamily="34" charset="0"/>
              </a:rPr>
              <a:t>Location: </a:t>
            </a:r>
          </a:p>
          <a:p>
            <a:pPr lvl="1">
              <a:defRPr/>
            </a:pPr>
            <a:r>
              <a:rPr lang="en-US" altLang="zh-CN" sz="1837" dirty="0" smtClean="0">
                <a:solidFill>
                  <a:schemeClr val="bg1"/>
                </a:solidFill>
                <a:latin typeface="Segoe UI Light" panose="020B0502040204020203" pitchFamily="34" charset="0"/>
              </a:rPr>
              <a:t>Iraq</a:t>
            </a:r>
            <a:endParaRPr lang="en-US" altLang="zh-CN" sz="1837" dirty="0">
              <a:solidFill>
                <a:schemeClr val="bg1"/>
              </a:solidFill>
              <a:latin typeface="Segoe UI Light" panose="020B0502040204020203" pitchFamily="34" charset="0"/>
            </a:endParaRPr>
          </a:p>
        </p:txBody>
      </p:sp>
      <p:sp>
        <p:nvSpPr>
          <p:cNvPr id="11" name="McK 5. Source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551000" y="6598846"/>
            <a:ext cx="7002157" cy="1601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/>
          <a:p>
            <a:pPr marL="621975" indent="-621975" defTabSz="913526">
              <a:spcBef>
                <a:spcPct val="0"/>
              </a:spcBef>
              <a:tabLst>
                <a:tab pos="625214" algn="l"/>
              </a:tabLst>
            </a:pPr>
            <a:r>
              <a:rPr lang="en-US" altLang="zh-CN" sz="1020" dirty="0">
                <a:solidFill>
                  <a:schemeClr val="bg1"/>
                </a:solidFill>
                <a:latin typeface="Segoe UI Light" panose="020B0502040204020203" pitchFamily="34" charset="0"/>
                <a:ea typeface="宋体" pitchFamily="2" charset="-122"/>
              </a:rPr>
              <a:t>SOURCE: SECPG’s project database</a:t>
            </a:r>
          </a:p>
        </p:txBody>
      </p:sp>
      <p:sp>
        <p:nvSpPr>
          <p:cNvPr id="12" name="矩形 11"/>
          <p:cNvSpPr/>
          <p:nvPr/>
        </p:nvSpPr>
        <p:spPr>
          <a:xfrm>
            <a:off x="921000" y="5776870"/>
            <a:ext cx="3513429" cy="757130"/>
          </a:xfrm>
          <a:prstGeom prst="rect">
            <a:avLst/>
          </a:prstGeom>
          <a:solidFill>
            <a:srgbClr val="194CA1">
              <a:alpha val="63922"/>
            </a:srgbClr>
          </a:solidFill>
          <a:ln w="25400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</a:pPr>
            <a:r>
              <a:rPr lang="en-US" altLang="zh-CN" b="1" dirty="0" err="1" smtClean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Wassit</a:t>
            </a:r>
            <a:r>
              <a:rPr lang="en-US" altLang="zh-CN" b="1" dirty="0" smtClean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Power Plant supplies 85% of Power of Bagdad, 30% of Iraq</a:t>
            </a:r>
            <a:endParaRPr lang="zh-CN" altLang="en-US" b="1" dirty="0">
              <a:solidFill>
                <a:schemeClr val="bg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9" name="Rectangle 2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-195280" y="554648"/>
            <a:ext cx="9593280" cy="54263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defPPr>
              <a:defRPr lang="zh-CN"/>
            </a:defPPr>
            <a:lvl1pPr algn="ctr" defTabSz="896112" fontAlgn="auto">
              <a:spcBef>
                <a:spcPct val="0"/>
              </a:spcBef>
              <a:spcAft>
                <a:spcPts val="0"/>
              </a:spcAft>
              <a:buNone/>
              <a:defRPr sz="2800" b="1">
                <a:solidFill>
                  <a:srgbClr val="0070C0"/>
                </a:solidFill>
                <a:latin typeface="+mj-lt"/>
                <a:ea typeface="宋体" pitchFamily="2" charset="-122"/>
                <a:cs typeface="+mj-cs"/>
              </a:defRPr>
            </a:lvl1pPr>
          </a:lstStyle>
          <a:p>
            <a:r>
              <a:rPr lang="en-US" altLang="zh-CN" dirty="0" smtClean="0">
                <a:latin typeface="Segoe UI Light" panose="020B0502040204020203" pitchFamily="34" charset="0"/>
              </a:rPr>
              <a:t>Project </a:t>
            </a:r>
            <a:r>
              <a:rPr lang="en-US" altLang="zh-CN" dirty="0">
                <a:latin typeface="Segoe UI Light" panose="020B0502040204020203" pitchFamily="34" charset="0"/>
              </a:rPr>
              <a:t>Case</a:t>
            </a:r>
            <a:r>
              <a:rPr lang="en-US" altLang="zh-CN" dirty="0" smtClean="0">
                <a:latin typeface="Segoe UI Light" panose="020B0502040204020203" pitchFamily="34" charset="0"/>
              </a:rPr>
              <a:t>: Other Fields – Operation &amp; Maintenance</a:t>
            </a:r>
            <a:endParaRPr lang="en-US" altLang="zh-CN" dirty="0">
              <a:latin typeface="Segoe UI Light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171935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472444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组合 1"/>
          <p:cNvGrpSpPr/>
          <p:nvPr/>
        </p:nvGrpSpPr>
        <p:grpSpPr>
          <a:xfrm>
            <a:off x="2946000" y="1989000"/>
            <a:ext cx="5762308" cy="4431064"/>
            <a:chOff x="2919329" y="2210713"/>
            <a:chExt cx="5762308" cy="4431064"/>
          </a:xfrm>
        </p:grpSpPr>
        <p:sp>
          <p:nvSpPr>
            <p:cNvPr id="3" name="环形箭头 2"/>
            <p:cNvSpPr/>
            <p:nvPr/>
          </p:nvSpPr>
          <p:spPr>
            <a:xfrm>
              <a:off x="3542968" y="2210713"/>
              <a:ext cx="4431064" cy="4431064"/>
            </a:xfrm>
            <a:prstGeom prst="circularArrow">
              <a:avLst>
                <a:gd name="adj1" fmla="val 4832"/>
                <a:gd name="adj2" fmla="val 438699"/>
                <a:gd name="adj3" fmla="val 7798718"/>
                <a:gd name="adj4" fmla="val 14602993"/>
                <a:gd name="adj5" fmla="val 6833"/>
              </a:avLst>
            </a:prstGeom>
            <a:solidFill>
              <a:srgbClr val="32A43F"/>
            </a:solidFill>
          </p:spPr>
          <p:style>
            <a:lnRef idx="0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zh-CN" altLang="en-US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8" name="任意多边形 17"/>
            <p:cNvSpPr/>
            <p:nvPr/>
          </p:nvSpPr>
          <p:spPr>
            <a:xfrm>
              <a:off x="6624557" y="2642622"/>
              <a:ext cx="2057080" cy="1028540"/>
            </a:xfrm>
            <a:custGeom>
              <a:avLst/>
              <a:gdLst>
                <a:gd name="connsiteX0" fmla="*/ 0 w 2057080"/>
                <a:gd name="connsiteY0" fmla="*/ 171427 h 1028540"/>
                <a:gd name="connsiteX1" fmla="*/ 171427 w 2057080"/>
                <a:gd name="connsiteY1" fmla="*/ 0 h 1028540"/>
                <a:gd name="connsiteX2" fmla="*/ 1885653 w 2057080"/>
                <a:gd name="connsiteY2" fmla="*/ 0 h 1028540"/>
                <a:gd name="connsiteX3" fmla="*/ 2057080 w 2057080"/>
                <a:gd name="connsiteY3" fmla="*/ 171427 h 1028540"/>
                <a:gd name="connsiteX4" fmla="*/ 2057080 w 2057080"/>
                <a:gd name="connsiteY4" fmla="*/ 857113 h 1028540"/>
                <a:gd name="connsiteX5" fmla="*/ 1885653 w 2057080"/>
                <a:gd name="connsiteY5" fmla="*/ 1028540 h 1028540"/>
                <a:gd name="connsiteX6" fmla="*/ 171427 w 2057080"/>
                <a:gd name="connsiteY6" fmla="*/ 1028540 h 1028540"/>
                <a:gd name="connsiteX7" fmla="*/ 0 w 2057080"/>
                <a:gd name="connsiteY7" fmla="*/ 857113 h 1028540"/>
                <a:gd name="connsiteX8" fmla="*/ 0 w 2057080"/>
                <a:gd name="connsiteY8" fmla="*/ 171427 h 1028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57080" h="1028540">
                  <a:moveTo>
                    <a:pt x="0" y="171427"/>
                  </a:moveTo>
                  <a:cubicBezTo>
                    <a:pt x="0" y="76750"/>
                    <a:pt x="76750" y="0"/>
                    <a:pt x="171427" y="0"/>
                  </a:cubicBezTo>
                  <a:lnTo>
                    <a:pt x="1885653" y="0"/>
                  </a:lnTo>
                  <a:cubicBezTo>
                    <a:pt x="1980330" y="0"/>
                    <a:pt x="2057080" y="76750"/>
                    <a:pt x="2057080" y="171427"/>
                  </a:cubicBezTo>
                  <a:lnTo>
                    <a:pt x="2057080" y="857113"/>
                  </a:lnTo>
                  <a:cubicBezTo>
                    <a:pt x="2057080" y="951790"/>
                    <a:pt x="1980330" y="1028540"/>
                    <a:pt x="1885653" y="1028540"/>
                  </a:cubicBezTo>
                  <a:lnTo>
                    <a:pt x="171427" y="1028540"/>
                  </a:lnTo>
                  <a:cubicBezTo>
                    <a:pt x="76750" y="1028540"/>
                    <a:pt x="0" y="951790"/>
                    <a:pt x="0" y="857113"/>
                  </a:cubicBezTo>
                  <a:lnTo>
                    <a:pt x="0" y="171427"/>
                  </a:lnTo>
                  <a:close/>
                </a:path>
              </a:pathLst>
            </a:custGeom>
            <a:solidFill>
              <a:srgbClr val="0864A1"/>
            </a:solidFill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14979" tIns="114979" rIns="114979" bIns="114979" numCol="1" spcCol="1270" anchor="ctr" anchorCtr="0">
              <a:noAutofit/>
            </a:bodyPr>
            <a:lstStyle/>
            <a:p>
              <a:pPr lvl="0" algn="ctr" defTabSz="7556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altLang="zh-CN" sz="1700" b="1" kern="1200" dirty="0" smtClean="0">
                  <a:latin typeface="Segoe UI Light" panose="020B0502040204020203" pitchFamily="34" charset="0"/>
                  <a:cs typeface="Segoe UI Light" panose="020B0502040204020203" pitchFamily="34" charset="0"/>
                </a:rPr>
                <a:t>EPC Turnkey</a:t>
              </a:r>
              <a:endParaRPr lang="zh-CN" altLang="en-US" sz="1700" b="1" kern="1200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19" name="任意多边形 18"/>
            <p:cNvSpPr/>
            <p:nvPr/>
          </p:nvSpPr>
          <p:spPr>
            <a:xfrm>
              <a:off x="6624557" y="4610411"/>
              <a:ext cx="2057080" cy="1028540"/>
            </a:xfrm>
            <a:custGeom>
              <a:avLst/>
              <a:gdLst>
                <a:gd name="connsiteX0" fmla="*/ 0 w 2057080"/>
                <a:gd name="connsiteY0" fmla="*/ 171427 h 1028540"/>
                <a:gd name="connsiteX1" fmla="*/ 171427 w 2057080"/>
                <a:gd name="connsiteY1" fmla="*/ 0 h 1028540"/>
                <a:gd name="connsiteX2" fmla="*/ 1885653 w 2057080"/>
                <a:gd name="connsiteY2" fmla="*/ 0 h 1028540"/>
                <a:gd name="connsiteX3" fmla="*/ 2057080 w 2057080"/>
                <a:gd name="connsiteY3" fmla="*/ 171427 h 1028540"/>
                <a:gd name="connsiteX4" fmla="*/ 2057080 w 2057080"/>
                <a:gd name="connsiteY4" fmla="*/ 857113 h 1028540"/>
                <a:gd name="connsiteX5" fmla="*/ 1885653 w 2057080"/>
                <a:gd name="connsiteY5" fmla="*/ 1028540 h 1028540"/>
                <a:gd name="connsiteX6" fmla="*/ 171427 w 2057080"/>
                <a:gd name="connsiteY6" fmla="*/ 1028540 h 1028540"/>
                <a:gd name="connsiteX7" fmla="*/ 0 w 2057080"/>
                <a:gd name="connsiteY7" fmla="*/ 857113 h 1028540"/>
                <a:gd name="connsiteX8" fmla="*/ 0 w 2057080"/>
                <a:gd name="connsiteY8" fmla="*/ 171427 h 1028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57080" h="1028540">
                  <a:moveTo>
                    <a:pt x="0" y="171427"/>
                  </a:moveTo>
                  <a:cubicBezTo>
                    <a:pt x="0" y="76750"/>
                    <a:pt x="76750" y="0"/>
                    <a:pt x="171427" y="0"/>
                  </a:cubicBezTo>
                  <a:lnTo>
                    <a:pt x="1885653" y="0"/>
                  </a:lnTo>
                  <a:cubicBezTo>
                    <a:pt x="1980330" y="0"/>
                    <a:pt x="2057080" y="76750"/>
                    <a:pt x="2057080" y="171427"/>
                  </a:cubicBezTo>
                  <a:lnTo>
                    <a:pt x="2057080" y="857113"/>
                  </a:lnTo>
                  <a:cubicBezTo>
                    <a:pt x="2057080" y="951790"/>
                    <a:pt x="1980330" y="1028540"/>
                    <a:pt x="1885653" y="1028540"/>
                  </a:cubicBezTo>
                  <a:lnTo>
                    <a:pt x="171427" y="1028540"/>
                  </a:lnTo>
                  <a:cubicBezTo>
                    <a:pt x="76750" y="1028540"/>
                    <a:pt x="0" y="951790"/>
                    <a:pt x="0" y="857113"/>
                  </a:cubicBezTo>
                  <a:lnTo>
                    <a:pt x="0" y="171427"/>
                  </a:lnTo>
                  <a:close/>
                </a:path>
              </a:pathLst>
            </a:custGeom>
            <a:solidFill>
              <a:srgbClr val="0864A1"/>
            </a:solidFill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14979" tIns="114979" rIns="114979" bIns="114979" numCol="1" spcCol="1270" anchor="ctr" anchorCtr="0">
              <a:noAutofit/>
            </a:bodyPr>
            <a:lstStyle/>
            <a:p>
              <a:pPr lvl="0" algn="ctr" defTabSz="7556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altLang="zh-CN" sz="1700" b="1" kern="1200" dirty="0" smtClean="0">
                  <a:latin typeface="Segoe UI Light" panose="020B0502040204020203" pitchFamily="34" charset="0"/>
                  <a:cs typeface="Segoe UI Light" panose="020B0502040204020203" pitchFamily="34" charset="0"/>
                </a:rPr>
                <a:t>P</a:t>
              </a:r>
              <a:r>
                <a:rPr lang="en-US" altLang="zh-CN" sz="1700" b="1" dirty="0" smtClean="0">
                  <a:latin typeface="Segoe UI Light" panose="020B0502040204020203" pitchFamily="34" charset="0"/>
                  <a:cs typeface="Segoe UI Light" panose="020B0502040204020203" pitchFamily="34" charset="0"/>
                </a:rPr>
                <a:t>roject Financing</a:t>
              </a:r>
              <a:endParaRPr lang="zh-CN" altLang="en-US" sz="1700" b="1" kern="1200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20" name="任意多边形 19"/>
            <p:cNvSpPr/>
            <p:nvPr/>
          </p:nvSpPr>
          <p:spPr>
            <a:xfrm>
              <a:off x="2919329" y="4610411"/>
              <a:ext cx="2057080" cy="1028540"/>
            </a:xfrm>
            <a:custGeom>
              <a:avLst/>
              <a:gdLst>
                <a:gd name="connsiteX0" fmla="*/ 0 w 2057080"/>
                <a:gd name="connsiteY0" fmla="*/ 171427 h 1028540"/>
                <a:gd name="connsiteX1" fmla="*/ 171427 w 2057080"/>
                <a:gd name="connsiteY1" fmla="*/ 0 h 1028540"/>
                <a:gd name="connsiteX2" fmla="*/ 1885653 w 2057080"/>
                <a:gd name="connsiteY2" fmla="*/ 0 h 1028540"/>
                <a:gd name="connsiteX3" fmla="*/ 2057080 w 2057080"/>
                <a:gd name="connsiteY3" fmla="*/ 171427 h 1028540"/>
                <a:gd name="connsiteX4" fmla="*/ 2057080 w 2057080"/>
                <a:gd name="connsiteY4" fmla="*/ 857113 h 1028540"/>
                <a:gd name="connsiteX5" fmla="*/ 1885653 w 2057080"/>
                <a:gd name="connsiteY5" fmla="*/ 1028540 h 1028540"/>
                <a:gd name="connsiteX6" fmla="*/ 171427 w 2057080"/>
                <a:gd name="connsiteY6" fmla="*/ 1028540 h 1028540"/>
                <a:gd name="connsiteX7" fmla="*/ 0 w 2057080"/>
                <a:gd name="connsiteY7" fmla="*/ 857113 h 1028540"/>
                <a:gd name="connsiteX8" fmla="*/ 0 w 2057080"/>
                <a:gd name="connsiteY8" fmla="*/ 171427 h 1028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57080" h="1028540">
                  <a:moveTo>
                    <a:pt x="0" y="171427"/>
                  </a:moveTo>
                  <a:cubicBezTo>
                    <a:pt x="0" y="76750"/>
                    <a:pt x="76750" y="0"/>
                    <a:pt x="171427" y="0"/>
                  </a:cubicBezTo>
                  <a:lnTo>
                    <a:pt x="1885653" y="0"/>
                  </a:lnTo>
                  <a:cubicBezTo>
                    <a:pt x="1980330" y="0"/>
                    <a:pt x="2057080" y="76750"/>
                    <a:pt x="2057080" y="171427"/>
                  </a:cubicBezTo>
                  <a:lnTo>
                    <a:pt x="2057080" y="857113"/>
                  </a:lnTo>
                  <a:cubicBezTo>
                    <a:pt x="2057080" y="951790"/>
                    <a:pt x="1980330" y="1028540"/>
                    <a:pt x="1885653" y="1028540"/>
                  </a:cubicBezTo>
                  <a:lnTo>
                    <a:pt x="171427" y="1028540"/>
                  </a:lnTo>
                  <a:cubicBezTo>
                    <a:pt x="76750" y="1028540"/>
                    <a:pt x="0" y="951790"/>
                    <a:pt x="0" y="857113"/>
                  </a:cubicBezTo>
                  <a:lnTo>
                    <a:pt x="0" y="171427"/>
                  </a:lnTo>
                  <a:close/>
                </a:path>
              </a:pathLst>
            </a:custGeom>
            <a:solidFill>
              <a:srgbClr val="0864A1"/>
            </a:solidFill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14979" tIns="114979" rIns="114979" bIns="114979" numCol="1" spcCol="1270" anchor="ctr" anchorCtr="0">
              <a:noAutofit/>
            </a:bodyPr>
            <a:lstStyle/>
            <a:p>
              <a:pPr lvl="0" algn="ctr" defTabSz="7556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altLang="zh-CN" sz="1700" b="1" kern="1200" dirty="0" smtClean="0">
                  <a:latin typeface="Segoe UI Light" panose="020B0502040204020203" pitchFamily="34" charset="0"/>
                  <a:cs typeface="Segoe UI Light" panose="020B0502040204020203" pitchFamily="34" charset="0"/>
                </a:rPr>
                <a:t>Services</a:t>
              </a:r>
              <a:endParaRPr lang="zh-CN" altLang="en-US" sz="1700" b="1" kern="1200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21" name="任意多边形 20"/>
            <p:cNvSpPr/>
            <p:nvPr/>
          </p:nvSpPr>
          <p:spPr>
            <a:xfrm>
              <a:off x="2919329" y="2632722"/>
              <a:ext cx="2057080" cy="1028540"/>
            </a:xfrm>
            <a:custGeom>
              <a:avLst/>
              <a:gdLst>
                <a:gd name="connsiteX0" fmla="*/ 0 w 2057080"/>
                <a:gd name="connsiteY0" fmla="*/ 171427 h 1028540"/>
                <a:gd name="connsiteX1" fmla="*/ 171427 w 2057080"/>
                <a:gd name="connsiteY1" fmla="*/ 0 h 1028540"/>
                <a:gd name="connsiteX2" fmla="*/ 1885653 w 2057080"/>
                <a:gd name="connsiteY2" fmla="*/ 0 h 1028540"/>
                <a:gd name="connsiteX3" fmla="*/ 2057080 w 2057080"/>
                <a:gd name="connsiteY3" fmla="*/ 171427 h 1028540"/>
                <a:gd name="connsiteX4" fmla="*/ 2057080 w 2057080"/>
                <a:gd name="connsiteY4" fmla="*/ 857113 h 1028540"/>
                <a:gd name="connsiteX5" fmla="*/ 1885653 w 2057080"/>
                <a:gd name="connsiteY5" fmla="*/ 1028540 h 1028540"/>
                <a:gd name="connsiteX6" fmla="*/ 171427 w 2057080"/>
                <a:gd name="connsiteY6" fmla="*/ 1028540 h 1028540"/>
                <a:gd name="connsiteX7" fmla="*/ 0 w 2057080"/>
                <a:gd name="connsiteY7" fmla="*/ 857113 h 1028540"/>
                <a:gd name="connsiteX8" fmla="*/ 0 w 2057080"/>
                <a:gd name="connsiteY8" fmla="*/ 171427 h 1028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57080" h="1028540">
                  <a:moveTo>
                    <a:pt x="0" y="171427"/>
                  </a:moveTo>
                  <a:cubicBezTo>
                    <a:pt x="0" y="76750"/>
                    <a:pt x="76750" y="0"/>
                    <a:pt x="171427" y="0"/>
                  </a:cubicBezTo>
                  <a:lnTo>
                    <a:pt x="1885653" y="0"/>
                  </a:lnTo>
                  <a:cubicBezTo>
                    <a:pt x="1980330" y="0"/>
                    <a:pt x="2057080" y="76750"/>
                    <a:pt x="2057080" y="171427"/>
                  </a:cubicBezTo>
                  <a:lnTo>
                    <a:pt x="2057080" y="857113"/>
                  </a:lnTo>
                  <a:cubicBezTo>
                    <a:pt x="2057080" y="951790"/>
                    <a:pt x="1980330" y="1028540"/>
                    <a:pt x="1885653" y="1028540"/>
                  </a:cubicBezTo>
                  <a:lnTo>
                    <a:pt x="171427" y="1028540"/>
                  </a:lnTo>
                  <a:cubicBezTo>
                    <a:pt x="76750" y="1028540"/>
                    <a:pt x="0" y="951790"/>
                    <a:pt x="0" y="857113"/>
                  </a:cubicBezTo>
                  <a:lnTo>
                    <a:pt x="0" y="171427"/>
                  </a:lnTo>
                  <a:close/>
                </a:path>
              </a:pathLst>
            </a:custGeom>
            <a:solidFill>
              <a:srgbClr val="0864A1"/>
            </a:solidFill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14979" tIns="114979" rIns="114979" bIns="114979" numCol="1" spcCol="1270" anchor="ctr" anchorCtr="0">
              <a:noAutofit/>
            </a:bodyPr>
            <a:lstStyle/>
            <a:p>
              <a:pPr lvl="0" algn="ctr" defTabSz="7556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altLang="zh-CN" sz="1700" b="1" kern="1200" dirty="0" smtClean="0">
                  <a:latin typeface="Segoe UI Light" panose="020B0502040204020203" pitchFamily="34" charset="0"/>
                  <a:cs typeface="Segoe UI Light" panose="020B0502040204020203" pitchFamily="34" charset="0"/>
                </a:rPr>
                <a:t>Equipment Supply</a:t>
              </a:r>
              <a:endParaRPr lang="zh-CN" altLang="en-US" sz="1700" b="1" kern="1200" dirty="0"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cxnSp>
        <p:nvCxnSpPr>
          <p:cNvPr id="5" name="直接连接符 36"/>
          <p:cNvCxnSpPr>
            <a:cxnSpLocks noChangeShapeType="1"/>
          </p:cNvCxnSpPr>
          <p:nvPr/>
        </p:nvCxnSpPr>
        <p:spPr bwMode="auto">
          <a:xfrm>
            <a:off x="-384000" y="1539000"/>
            <a:ext cx="13050000" cy="0"/>
          </a:xfrm>
          <a:prstGeom prst="line">
            <a:avLst/>
          </a:prstGeom>
          <a:noFill/>
          <a:ln w="9525" algn="ctr">
            <a:solidFill>
              <a:srgbClr val="8BCC34"/>
            </a:solidFill>
            <a:round/>
            <a:headEnd/>
            <a:tailEnd/>
          </a:ln>
        </p:spPr>
      </p:cxnSp>
      <p:sp>
        <p:nvSpPr>
          <p:cNvPr id="6" name="Rectangle 2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570350" y="862548"/>
            <a:ext cx="9853532" cy="30286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896112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 fontAlgn="auto">
              <a:spcAft>
                <a:spcPts val="0"/>
              </a:spcAft>
            </a:pPr>
            <a:r>
              <a:rPr lang="en-US" altLang="zh-CN" sz="2800" b="1" dirty="0" smtClean="0">
                <a:solidFill>
                  <a:srgbClr val="0070C0"/>
                </a:solidFill>
                <a:latin typeface="Segoe UI Light" panose="020B0502040204020203" pitchFamily="34" charset="0"/>
                <a:ea typeface="宋体" pitchFamily="2" charset="-122"/>
              </a:rPr>
              <a:t>Shanghai Electric</a:t>
            </a:r>
            <a:r>
              <a:rPr lang="en-US" altLang="zh-CN" sz="2800" dirty="0" smtClean="0">
                <a:latin typeface="Segoe UI Light" panose="020B0502040204020203" pitchFamily="34" charset="0"/>
                <a:ea typeface="宋体" pitchFamily="2" charset="-122"/>
              </a:rPr>
              <a:t> : </a:t>
            </a:r>
            <a:r>
              <a:rPr lang="en-US" altLang="zh-CN" sz="2800" b="1" dirty="0" smtClean="0">
                <a:solidFill>
                  <a:srgbClr val="0070C0"/>
                </a:solidFill>
                <a:latin typeface="Segoe UI Light" panose="020B0502040204020203" pitchFamily="34" charset="0"/>
                <a:ea typeface="宋体" pitchFamily="2" charset="-122"/>
              </a:rPr>
              <a:t>One-stop </a:t>
            </a:r>
            <a:r>
              <a:rPr lang="en-US" altLang="zh-CN" sz="2800" b="1" dirty="0">
                <a:solidFill>
                  <a:srgbClr val="0070C0"/>
                </a:solidFill>
                <a:latin typeface="Segoe UI Light" panose="020B0502040204020203" pitchFamily="34" charset="0"/>
                <a:ea typeface="宋体" pitchFamily="2" charset="-122"/>
              </a:rPr>
              <a:t>solution </a:t>
            </a:r>
            <a:r>
              <a:rPr lang="en-US" altLang="zh-CN" sz="2800" b="1" dirty="0" smtClean="0">
                <a:solidFill>
                  <a:srgbClr val="0070C0"/>
                </a:solidFill>
                <a:latin typeface="Segoe UI Light" panose="020B0502040204020203" pitchFamily="34" charset="0"/>
                <a:ea typeface="宋体" pitchFamily="2" charset="-122"/>
              </a:rPr>
              <a:t>provider </a:t>
            </a:r>
          </a:p>
          <a:p>
            <a:pPr algn="l" fontAlgn="auto">
              <a:spcAft>
                <a:spcPts val="0"/>
              </a:spcAft>
            </a:pPr>
            <a:r>
              <a:rPr lang="en-US" altLang="zh-CN" sz="2800" b="1" dirty="0">
                <a:solidFill>
                  <a:srgbClr val="0070C0"/>
                </a:solidFill>
                <a:latin typeface="Segoe UI Light" panose="020B0502040204020203" pitchFamily="34" charset="0"/>
                <a:ea typeface="宋体" pitchFamily="2" charset="-122"/>
              </a:rPr>
              <a:t> </a:t>
            </a:r>
            <a:r>
              <a:rPr lang="en-US" altLang="zh-CN" sz="2800" b="1" dirty="0" smtClean="0">
                <a:solidFill>
                  <a:srgbClr val="0070C0"/>
                </a:solidFill>
                <a:latin typeface="Segoe UI Light" panose="020B0502040204020203" pitchFamily="34" charset="0"/>
                <a:ea typeface="宋体" pitchFamily="2" charset="-122"/>
              </a:rPr>
              <a:t>                                                         with high flexibility</a:t>
            </a:r>
            <a:endParaRPr lang="en-US" altLang="zh-CN" sz="2800" b="1" dirty="0">
              <a:solidFill>
                <a:srgbClr val="0070C0"/>
              </a:solidFill>
              <a:latin typeface="Segoe UI Light" panose="020B0502040204020203" pitchFamily="34" charset="0"/>
              <a:ea typeface="宋体" pitchFamily="2" charset="-122"/>
            </a:endParaRPr>
          </a:p>
        </p:txBody>
      </p:sp>
      <p:sp>
        <p:nvSpPr>
          <p:cNvPr id="9" name="Text Box 5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693040" y="2349833"/>
            <a:ext cx="1899157" cy="76172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91420" tIns="45710" rIns="91420" bIns="45710">
            <a:spAutoFit/>
          </a:bodyPr>
          <a:lstStyle>
            <a:defPPr>
              <a:defRPr lang="zh-CN"/>
            </a:defPPr>
            <a:lvl1pPr marL="285750" indent="-285750">
              <a:lnSpc>
                <a:spcPct val="150000"/>
              </a:lnSpc>
              <a:spcBef>
                <a:spcPct val="0"/>
              </a:spcBef>
              <a:buClr>
                <a:schemeClr val="tx2"/>
              </a:buClr>
              <a:buSzPct val="120000"/>
              <a:buFont typeface="Wingdings" panose="05000000000000000000" pitchFamily="2" charset="2"/>
              <a:buChar char="l"/>
              <a:tabLst>
                <a:tab pos="0" algn="l"/>
              </a:tabLst>
              <a:defRPr sz="1450">
                <a:latin typeface="微软雅黑 Light" panose="020B0502040204020203" pitchFamily="34" charset="-122"/>
                <a:ea typeface="微软雅黑 Light" panose="020B0502040204020203" pitchFamily="34" charset="-122"/>
              </a:defRPr>
            </a:lvl1pPr>
          </a:lstStyle>
          <a:p>
            <a:pPr marL="0" indent="0" algn="r">
              <a:buNone/>
            </a:pPr>
            <a:r>
              <a:rPr lang="en-US" altLang="zh-CN" dirty="0">
                <a:latin typeface="Segoe UI Light" panose="020B0502040204020203" pitchFamily="34" charset="0"/>
                <a:cs typeface="Segoe UI Light" panose="020B0502040204020203" pitchFamily="34" charset="0"/>
              </a:rPr>
              <a:t>World-leading </a:t>
            </a:r>
            <a:r>
              <a:rPr lang="en-US" altLang="zh-CN" dirty="0" smtClean="0">
                <a:latin typeface="Segoe UI Light" panose="020B0502040204020203" pitchFamily="34" charset="0"/>
                <a:cs typeface="Segoe UI Light" panose="020B0502040204020203" pitchFamily="34" charset="0"/>
              </a:rPr>
              <a:t>manufacturer</a:t>
            </a:r>
            <a:endParaRPr lang="en-US" altLang="zh-CN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1" name="矩形 10"/>
          <p:cNvSpPr/>
          <p:nvPr/>
        </p:nvSpPr>
        <p:spPr>
          <a:xfrm>
            <a:off x="8708308" y="2420909"/>
            <a:ext cx="3065389" cy="109643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91420" tIns="45710" rIns="91420" bIns="45710">
            <a:spAutoFit/>
          </a:bodyPr>
          <a:lstStyle/>
          <a:p>
            <a:pPr marL="285750" indent="-285750">
              <a:lnSpc>
                <a:spcPct val="150000"/>
              </a:lnSpc>
              <a:spcBef>
                <a:spcPct val="0"/>
              </a:spcBef>
              <a:buClr>
                <a:schemeClr val="tx2"/>
              </a:buClr>
              <a:buSzPct val="120000"/>
              <a:buFont typeface="Wingdings" panose="05000000000000000000" pitchFamily="2" charset="2"/>
              <a:buChar char="l"/>
              <a:tabLst>
                <a:tab pos="0" algn="l"/>
              </a:tabLst>
            </a:pPr>
            <a:r>
              <a:rPr lang="en-US" altLang="zh-CN" sz="1450" dirty="0">
                <a:latin typeface="Segoe UI Light" panose="020B0502040204020203" pitchFamily="34" charset="0"/>
                <a:ea typeface="微软雅黑 Light" panose="020B0502040204020203" pitchFamily="34" charset="-122"/>
                <a:cs typeface="Segoe UI Light" panose="020B0502040204020203" pitchFamily="34" charset="0"/>
              </a:rPr>
              <a:t>Reliable and experienced international </a:t>
            </a:r>
            <a:r>
              <a:rPr lang="en-US" altLang="zh-CN" sz="1450" dirty="0" smtClean="0">
                <a:latin typeface="Segoe UI Light" panose="020B0502040204020203" pitchFamily="34" charset="0"/>
                <a:ea typeface="微软雅黑 Light" panose="020B0502040204020203" pitchFamily="34" charset="-122"/>
                <a:cs typeface="Segoe UI Light" panose="020B0502040204020203" pitchFamily="34" charset="0"/>
              </a:rPr>
              <a:t>contractor</a:t>
            </a:r>
          </a:p>
          <a:p>
            <a:pPr marL="285750" indent="-285750">
              <a:lnSpc>
                <a:spcPct val="150000"/>
              </a:lnSpc>
              <a:spcBef>
                <a:spcPct val="0"/>
              </a:spcBef>
              <a:buClr>
                <a:schemeClr val="tx2"/>
              </a:buClr>
              <a:buSzPct val="120000"/>
              <a:buFont typeface="Wingdings" panose="05000000000000000000" pitchFamily="2" charset="2"/>
              <a:buChar char="l"/>
              <a:tabLst>
                <a:tab pos="0" algn="l"/>
              </a:tabLst>
            </a:pPr>
            <a:r>
              <a:rPr lang="en-US" altLang="zh-CN" sz="1450" dirty="0" smtClean="0">
                <a:latin typeface="Segoe UI Light" panose="020B0502040204020203" pitchFamily="34" charset="0"/>
                <a:ea typeface="微软雅黑 Light" panose="020B0502040204020203" pitchFamily="34" charset="-122"/>
                <a:cs typeface="Segoe UI Light" panose="020B0502040204020203" pitchFamily="34" charset="0"/>
              </a:rPr>
              <a:t>Flexible turnkey scope</a:t>
            </a:r>
            <a:endParaRPr lang="en-US" altLang="zh-CN" sz="1450" dirty="0">
              <a:latin typeface="Segoe UI Light" panose="020B0502040204020203" pitchFamily="34" charset="0"/>
              <a:ea typeface="微软雅黑 Light" panose="020B0502040204020203" pitchFamily="34" charset="-122"/>
              <a:cs typeface="Segoe UI Light" panose="020B0502040204020203" pitchFamily="34" charset="0"/>
            </a:endParaRPr>
          </a:p>
        </p:txBody>
      </p:sp>
      <p:sp>
        <p:nvSpPr>
          <p:cNvPr id="12" name="Text Box 7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1170553" y="4822410"/>
            <a:ext cx="1457790" cy="42702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91420" tIns="45710" rIns="91420" bIns="45710">
            <a:spAutoFit/>
          </a:bodyPr>
          <a:lstStyle>
            <a:defPPr>
              <a:defRPr lang="zh-CN"/>
            </a:defPPr>
            <a:lvl1pPr marL="285750" indent="-285750">
              <a:lnSpc>
                <a:spcPct val="150000"/>
              </a:lnSpc>
              <a:spcBef>
                <a:spcPct val="0"/>
              </a:spcBef>
              <a:buClr>
                <a:schemeClr val="tx2"/>
              </a:buClr>
              <a:buSzPct val="120000"/>
              <a:buFont typeface="Wingdings" panose="05000000000000000000" pitchFamily="2" charset="2"/>
              <a:buChar char="l"/>
              <a:tabLst>
                <a:tab pos="0" algn="l"/>
              </a:tabLst>
              <a:defRPr sz="1450">
                <a:latin typeface="微软雅黑 Light" panose="020B0502040204020203" pitchFamily="34" charset="-122"/>
                <a:ea typeface="微软雅黑 Light" panose="020B0502040204020203" pitchFamily="34" charset="-122"/>
              </a:defRPr>
            </a:lvl1pPr>
          </a:lstStyle>
          <a:p>
            <a:pPr marL="0" indent="0" algn="r">
              <a:buNone/>
            </a:pPr>
            <a:r>
              <a:rPr lang="en-US" altLang="zh-CN" dirty="0" smtClean="0">
                <a:latin typeface="Segoe UI Light" panose="020B0502040204020203" pitchFamily="34" charset="0"/>
                <a:cs typeface="Segoe UI Light" panose="020B0502040204020203" pitchFamily="34" charset="0"/>
              </a:rPr>
              <a:t>LTSA/FRAME</a:t>
            </a:r>
            <a:endParaRPr lang="zh-CN" altLang="en-US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4" name="Text Box 5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8708308" y="4388698"/>
            <a:ext cx="3105000" cy="143114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91420" tIns="45710" rIns="91420" bIns="45710">
            <a:spAutoFit/>
          </a:bodyPr>
          <a:lstStyle>
            <a:defPPr>
              <a:defRPr lang="zh-CN"/>
            </a:defPPr>
            <a:lvl1pPr marL="285750" indent="-285750" algn="r">
              <a:lnSpc>
                <a:spcPct val="150000"/>
              </a:lnSpc>
              <a:spcBef>
                <a:spcPct val="0"/>
              </a:spcBef>
              <a:buClr>
                <a:schemeClr val="tx2"/>
              </a:buClr>
              <a:buSzPct val="120000"/>
              <a:buFont typeface="Wingdings" panose="05000000000000000000" pitchFamily="2" charset="2"/>
              <a:buChar char="l"/>
              <a:tabLst>
                <a:tab pos="0" algn="l"/>
              </a:tabLst>
              <a:defRPr sz="1450">
                <a:latin typeface="微软雅黑 Light" panose="020B0502040204020203" pitchFamily="34" charset="-122"/>
                <a:ea typeface="微软雅黑 Light" panose="020B0502040204020203" pitchFamily="34" charset="-122"/>
              </a:defRPr>
            </a:lvl1pPr>
          </a:lstStyle>
          <a:p>
            <a:pPr algn="l"/>
            <a:r>
              <a:rPr lang="en-US" altLang="zh-CN" dirty="0">
                <a:latin typeface="Segoe UI Light" panose="020B0502040204020203" pitchFamily="34" charset="0"/>
                <a:cs typeface="Segoe UI Light" panose="020B0502040204020203" pitchFamily="34" charset="0"/>
              </a:rPr>
              <a:t>Equity involvement + EPC</a:t>
            </a:r>
          </a:p>
          <a:p>
            <a:pPr algn="l"/>
            <a:r>
              <a:rPr lang="en-US" altLang="zh-CN" dirty="0" smtClean="0">
                <a:latin typeface="Segoe UI Light" panose="020B0502040204020203" pitchFamily="34" charset="0"/>
              </a:rPr>
              <a:t>Financing </a:t>
            </a:r>
            <a:r>
              <a:rPr lang="en-US" altLang="zh-CN" dirty="0">
                <a:latin typeface="Segoe UI Light" panose="020B0502040204020203" pitchFamily="34" charset="0"/>
              </a:rPr>
              <a:t>arrangement</a:t>
            </a:r>
          </a:p>
          <a:p>
            <a:pPr algn="l"/>
            <a:r>
              <a:rPr lang="en-US" altLang="zh-CN" dirty="0" smtClean="0">
                <a:latin typeface="Segoe UI Light" panose="020B0502040204020203" pitchFamily="34" charset="0"/>
              </a:rPr>
              <a:t>Access </a:t>
            </a:r>
            <a:r>
              <a:rPr lang="en-US" altLang="zh-CN" dirty="0">
                <a:latin typeface="Segoe UI Light" panose="020B0502040204020203" pitchFamily="34" charset="0"/>
              </a:rPr>
              <a:t>to multiple </a:t>
            </a:r>
            <a:r>
              <a:rPr lang="en-US" altLang="zh-CN" dirty="0" smtClean="0">
                <a:latin typeface="Segoe UI Light" panose="020B0502040204020203" pitchFamily="34" charset="0"/>
              </a:rPr>
              <a:t>financing channels</a:t>
            </a:r>
            <a:endParaRPr lang="en-US" altLang="zh-CN" dirty="0">
              <a:latin typeface="Segoe UI Light" panose="020B0502040204020203" pitchFamily="34" charset="0"/>
            </a:endParaRP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56631" y="3620792"/>
            <a:ext cx="2057080" cy="686016"/>
          </a:xfrm>
          <a:prstGeom prst="rect">
            <a:avLst/>
          </a:prstGeom>
        </p:spPr>
      </p:pic>
      <p:sp>
        <p:nvSpPr>
          <p:cNvPr id="16" name="Text Box 5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2579231" y="2420909"/>
            <a:ext cx="565605" cy="109643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91420" tIns="45710" rIns="91420" bIns="45710">
            <a:spAutoFit/>
          </a:bodyPr>
          <a:lstStyle>
            <a:defPPr>
              <a:defRPr lang="zh-CN"/>
            </a:defPPr>
            <a:lvl1pPr marL="285750" indent="-285750">
              <a:lnSpc>
                <a:spcPct val="150000"/>
              </a:lnSpc>
              <a:spcBef>
                <a:spcPct val="0"/>
              </a:spcBef>
              <a:buClr>
                <a:schemeClr val="tx2"/>
              </a:buClr>
              <a:buSzPct val="120000"/>
              <a:buFont typeface="Wingdings" panose="05000000000000000000" pitchFamily="2" charset="2"/>
              <a:buChar char="l"/>
              <a:tabLst>
                <a:tab pos="0" algn="l"/>
              </a:tabLst>
              <a:defRPr sz="1450">
                <a:latin typeface="微软雅黑 Light" panose="020B0502040204020203" pitchFamily="34" charset="-122"/>
                <a:ea typeface="微软雅黑 Light" panose="020B0502040204020203" pitchFamily="34" charset="-122"/>
              </a:defRPr>
            </a:lvl1pPr>
          </a:lstStyle>
          <a:p>
            <a:r>
              <a:rPr lang="en-US" altLang="zh-CN" dirty="0" smtClean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</a:p>
          <a:p>
            <a:pPr marL="0" indent="0">
              <a:buNone/>
            </a:pPr>
            <a:r>
              <a:rPr lang="en-US" altLang="zh-CN" dirty="0" smtClean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endParaRPr lang="en-US" altLang="zh-CN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  <a:p>
            <a:r>
              <a:rPr lang="en-US" altLang="zh-CN" dirty="0" smtClean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endParaRPr lang="en-US" altLang="zh-CN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7" name="Text Box 5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90298" y="3058685"/>
            <a:ext cx="2484363" cy="76172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91420" tIns="45710" rIns="91420" bIns="45710">
            <a:spAutoFit/>
          </a:bodyPr>
          <a:lstStyle>
            <a:defPPr>
              <a:defRPr lang="zh-CN"/>
            </a:defPPr>
            <a:lvl1pPr marL="285750" indent="-285750">
              <a:lnSpc>
                <a:spcPct val="150000"/>
              </a:lnSpc>
              <a:spcBef>
                <a:spcPct val="0"/>
              </a:spcBef>
              <a:buClr>
                <a:schemeClr val="tx2"/>
              </a:buClr>
              <a:buSzPct val="120000"/>
              <a:buFont typeface="Wingdings" panose="05000000000000000000" pitchFamily="2" charset="2"/>
              <a:buChar char="l"/>
              <a:tabLst>
                <a:tab pos="0" algn="l"/>
              </a:tabLst>
              <a:defRPr sz="1450">
                <a:latin typeface="微软雅黑 Light" panose="020B0502040204020203" pitchFamily="34" charset="-122"/>
                <a:ea typeface="微软雅黑 Light" panose="020B0502040204020203" pitchFamily="34" charset="-122"/>
              </a:defRPr>
            </a:lvl1pPr>
          </a:lstStyle>
          <a:p>
            <a:pPr marL="0" indent="0" algn="r">
              <a:buNone/>
            </a:pPr>
            <a:r>
              <a:rPr lang="en-US" altLang="zh-CN" dirty="0" smtClean="0">
                <a:latin typeface="Segoe UI Light" panose="020B0502040204020203" pitchFamily="34" charset="0"/>
                <a:cs typeface="Segoe UI Light" panose="020B0502040204020203" pitchFamily="34" charset="0"/>
              </a:rPr>
              <a:t>Complete </a:t>
            </a:r>
            <a:r>
              <a:rPr lang="en-US" altLang="zh-CN" dirty="0">
                <a:latin typeface="Segoe UI Light" panose="020B0502040204020203" pitchFamily="34" charset="0"/>
                <a:cs typeface="Segoe UI Light" panose="020B0502040204020203" pitchFamily="34" charset="0"/>
              </a:rPr>
              <a:t>supply chain for power generation projects </a:t>
            </a:r>
          </a:p>
        </p:txBody>
      </p:sp>
      <p:sp>
        <p:nvSpPr>
          <p:cNvPr id="22" name="Text Box 5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2579231" y="4509000"/>
            <a:ext cx="565605" cy="76172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91420" tIns="45710" rIns="91420" bIns="45710">
            <a:spAutoFit/>
          </a:bodyPr>
          <a:lstStyle>
            <a:defPPr>
              <a:defRPr lang="zh-CN"/>
            </a:defPPr>
            <a:lvl1pPr marL="285750" indent="-285750">
              <a:lnSpc>
                <a:spcPct val="150000"/>
              </a:lnSpc>
              <a:spcBef>
                <a:spcPct val="0"/>
              </a:spcBef>
              <a:buClr>
                <a:schemeClr val="tx2"/>
              </a:buClr>
              <a:buSzPct val="120000"/>
              <a:buFont typeface="Wingdings" panose="05000000000000000000" pitchFamily="2" charset="2"/>
              <a:buChar char="l"/>
              <a:tabLst>
                <a:tab pos="0" algn="l"/>
              </a:tabLst>
              <a:defRPr sz="1450">
                <a:latin typeface="微软雅黑 Light" panose="020B0502040204020203" pitchFamily="34" charset="-122"/>
                <a:ea typeface="微软雅黑 Light" panose="020B0502040204020203" pitchFamily="34" charset="-122"/>
              </a:defRPr>
            </a:lvl1pPr>
          </a:lstStyle>
          <a:p>
            <a:r>
              <a:rPr lang="en-US" altLang="zh-CN" dirty="0" smtClean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endParaRPr lang="en-US" altLang="zh-CN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  <a:p>
            <a:r>
              <a:rPr lang="en-US" altLang="zh-CN" dirty="0" smtClean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endParaRPr lang="en-US" altLang="zh-CN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23" name="Text Box 7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gray">
          <a:xfrm>
            <a:off x="795692" y="4481491"/>
            <a:ext cx="1789222" cy="42702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91420" tIns="45710" rIns="91420" bIns="45710">
            <a:spAutoFit/>
          </a:bodyPr>
          <a:lstStyle>
            <a:defPPr>
              <a:defRPr lang="zh-CN"/>
            </a:defPPr>
            <a:lvl1pPr marL="285750" indent="-285750">
              <a:lnSpc>
                <a:spcPct val="150000"/>
              </a:lnSpc>
              <a:spcBef>
                <a:spcPct val="0"/>
              </a:spcBef>
              <a:buClr>
                <a:schemeClr val="tx2"/>
              </a:buClr>
              <a:buSzPct val="120000"/>
              <a:buFont typeface="Wingdings" panose="05000000000000000000" pitchFamily="2" charset="2"/>
              <a:buChar char="l"/>
              <a:tabLst>
                <a:tab pos="0" algn="l"/>
              </a:tabLst>
              <a:defRPr sz="1450">
                <a:latin typeface="微软雅黑 Light" panose="020B0502040204020203" pitchFamily="34" charset="-122"/>
                <a:ea typeface="微软雅黑 Light" panose="020B0502040204020203" pitchFamily="34" charset="-122"/>
              </a:defRPr>
            </a:lvl1pPr>
          </a:lstStyle>
          <a:p>
            <a:pPr marL="0" indent="0" algn="r">
              <a:buNone/>
            </a:pPr>
            <a:r>
              <a:rPr lang="en-US" altLang="zh-CN" dirty="0" smtClean="0">
                <a:latin typeface="Segoe UI Light" panose="020B0502040204020203" pitchFamily="34" charset="0"/>
                <a:cs typeface="Segoe UI Light" panose="020B0502040204020203" pitchFamily="34" charset="0"/>
              </a:rPr>
              <a:t>O&amp;M services</a:t>
            </a:r>
            <a:endParaRPr lang="en-US" altLang="zh-CN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pic>
        <p:nvPicPr>
          <p:cNvPr id="24" name="图片 23"/>
          <p:cNvPicPr>
            <a:picLocks noChangeAspect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87280" y="395694"/>
            <a:ext cx="1747520" cy="5827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43727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4" name="Picture 143"/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7270"/>
          <a:stretch/>
        </p:blipFill>
        <p:spPr>
          <a:xfrm>
            <a:off x="-187857" y="1550698"/>
            <a:ext cx="13700006" cy="5283004"/>
          </a:xfrm>
          <a:prstGeom prst="rect">
            <a:avLst/>
          </a:prstGeom>
        </p:spPr>
      </p:pic>
      <p:sp>
        <p:nvSpPr>
          <p:cNvPr id="142" name="矩形 141"/>
          <p:cNvSpPr/>
          <p:nvPr/>
        </p:nvSpPr>
        <p:spPr>
          <a:xfrm>
            <a:off x="5495112" y="4014524"/>
            <a:ext cx="2116568" cy="2035162"/>
          </a:xfrm>
          <a:prstGeom prst="rect">
            <a:avLst/>
          </a:prstGeom>
          <a:solidFill>
            <a:srgbClr val="0984B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rgbClr val="0984B9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cxnSp>
        <p:nvCxnSpPr>
          <p:cNvPr id="5" name="直接连接符 36"/>
          <p:cNvCxnSpPr>
            <a:cxnSpLocks noChangeShapeType="1"/>
          </p:cNvCxnSpPr>
          <p:nvPr/>
        </p:nvCxnSpPr>
        <p:spPr bwMode="auto">
          <a:xfrm>
            <a:off x="-384000" y="1539000"/>
            <a:ext cx="13050000" cy="0"/>
          </a:xfrm>
          <a:prstGeom prst="line">
            <a:avLst/>
          </a:prstGeom>
          <a:noFill/>
          <a:ln w="9525" algn="ctr">
            <a:solidFill>
              <a:srgbClr val="8BCC34"/>
            </a:solidFill>
            <a:round/>
            <a:headEnd/>
            <a:tailEnd/>
          </a:ln>
        </p:spPr>
      </p:cxnSp>
      <p:sp>
        <p:nvSpPr>
          <p:cNvPr id="146" name="Rectangle 2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436271" y="713167"/>
            <a:ext cx="3320471" cy="30672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896112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 fontAlgn="auto">
              <a:spcAft>
                <a:spcPts val="0"/>
              </a:spcAft>
            </a:pPr>
            <a:r>
              <a:rPr lang="en-US" altLang="zh-CN" sz="2800" b="1" dirty="0" smtClean="0">
                <a:solidFill>
                  <a:srgbClr val="0070C0"/>
                </a:solidFill>
                <a:latin typeface="Segoe UI Light" panose="020B0502040204020203" pitchFamily="34" charset="0"/>
                <a:ea typeface="宋体" pitchFamily="2" charset="-122"/>
              </a:rPr>
              <a:t>Our Capability</a:t>
            </a:r>
            <a:endParaRPr kumimoji="0" lang="en-US" altLang="zh-CN" sz="2800" b="1" dirty="0" smtClean="0">
              <a:solidFill>
                <a:srgbClr val="0070C0"/>
              </a:solidFill>
              <a:latin typeface="Segoe UI Light" panose="020B0502040204020203" pitchFamily="34" charset="0"/>
              <a:ea typeface="宋体" pitchFamily="2" charset="-122"/>
            </a:endParaRPr>
          </a:p>
        </p:txBody>
      </p:sp>
      <p:sp>
        <p:nvSpPr>
          <p:cNvPr id="140" name="矩形 139"/>
          <p:cNvSpPr/>
          <p:nvPr/>
        </p:nvSpPr>
        <p:spPr>
          <a:xfrm>
            <a:off x="988517" y="1848930"/>
            <a:ext cx="2116568" cy="2035162"/>
          </a:xfrm>
          <a:prstGeom prst="rect">
            <a:avLst/>
          </a:prstGeom>
          <a:solidFill>
            <a:srgbClr val="194CA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41" name="矩形 140"/>
          <p:cNvSpPr/>
          <p:nvPr/>
        </p:nvSpPr>
        <p:spPr>
          <a:xfrm>
            <a:off x="3237041" y="1848930"/>
            <a:ext cx="2116568" cy="2035162"/>
          </a:xfrm>
          <a:prstGeom prst="rect">
            <a:avLst/>
          </a:prstGeom>
          <a:solidFill>
            <a:srgbClr val="8BCC3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49" name="矩形 148"/>
          <p:cNvSpPr/>
          <p:nvPr/>
        </p:nvSpPr>
        <p:spPr>
          <a:xfrm>
            <a:off x="978970" y="4014524"/>
            <a:ext cx="2116568" cy="2035162"/>
          </a:xfrm>
          <a:prstGeom prst="rect">
            <a:avLst/>
          </a:prstGeom>
          <a:solidFill>
            <a:srgbClr val="17AD7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50" name="矩形 149"/>
          <p:cNvSpPr/>
          <p:nvPr/>
        </p:nvSpPr>
        <p:spPr>
          <a:xfrm>
            <a:off x="3237041" y="4019789"/>
            <a:ext cx="2116568" cy="203516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rgbClr val="0984B9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51" name="矩形 150"/>
          <p:cNvSpPr/>
          <p:nvPr/>
        </p:nvSpPr>
        <p:spPr>
          <a:xfrm>
            <a:off x="5485565" y="1878731"/>
            <a:ext cx="5623105" cy="604501"/>
          </a:xfrm>
          <a:prstGeom prst="rect">
            <a:avLst/>
          </a:prstGeom>
          <a:solidFill>
            <a:srgbClr val="194CA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r>
              <a:rPr lang="en-US" altLang="zh-CN" sz="2800" b="1" dirty="0" smtClean="0">
                <a:solidFill>
                  <a:prstClr val="white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112 </a:t>
            </a:r>
            <a:r>
              <a:rPr lang="en-US" altLang="zh-CN" dirty="0">
                <a:solidFill>
                  <a:prstClr val="white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units 1000MW class </a:t>
            </a:r>
            <a:r>
              <a:rPr lang="en-US" altLang="zh-CN" dirty="0" smtClean="0">
                <a:solidFill>
                  <a:prstClr val="white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ordered, </a:t>
            </a:r>
            <a:r>
              <a:rPr lang="en-US" altLang="zh-CN" sz="2800" b="1" dirty="0" smtClean="0">
                <a:solidFill>
                  <a:prstClr val="white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45</a:t>
            </a:r>
            <a:r>
              <a:rPr lang="en-US" altLang="zh-CN" dirty="0" smtClean="0">
                <a:solidFill>
                  <a:prstClr val="white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altLang="zh-CN" dirty="0">
                <a:solidFill>
                  <a:prstClr val="white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ommissioned</a:t>
            </a:r>
            <a:endParaRPr lang="zh-CN" altLang="en-US" dirty="0">
              <a:solidFill>
                <a:schemeClr val="bg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52" name="矩形 151"/>
          <p:cNvSpPr/>
          <p:nvPr/>
        </p:nvSpPr>
        <p:spPr>
          <a:xfrm>
            <a:off x="7753907" y="4017684"/>
            <a:ext cx="3337093" cy="2029896"/>
          </a:xfrm>
          <a:prstGeom prst="rect">
            <a:avLst/>
          </a:prstGeom>
          <a:solidFill>
            <a:srgbClr val="6CC13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53" name="文本框 152"/>
          <p:cNvSpPr txBox="1"/>
          <p:nvPr/>
        </p:nvSpPr>
        <p:spPr>
          <a:xfrm>
            <a:off x="1016507" y="1930900"/>
            <a:ext cx="2160000" cy="153888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4000" b="1" dirty="0" smtClean="0">
                <a:solidFill>
                  <a:schemeClr val="bg1"/>
                </a:solidFill>
                <a:latin typeface="Segoe UI Light" panose="020B0502040204020203" pitchFamily="34" charset="0"/>
                <a:ea typeface="Roboto Th" pitchFamily="2" charset="0"/>
                <a:cs typeface="Segoe UI Light" panose="020B0502040204020203" pitchFamily="34" charset="0"/>
              </a:rPr>
              <a:t>36GW</a:t>
            </a:r>
          </a:p>
          <a:p>
            <a:r>
              <a:rPr lang="en-US" altLang="zh-CN" dirty="0" smtClean="0">
                <a:solidFill>
                  <a:schemeClr val="bg1"/>
                </a:solidFill>
                <a:latin typeface="Segoe UI Light" panose="020B0502040204020203" pitchFamily="34" charset="0"/>
                <a:ea typeface="宋体" pitchFamily="2" charset="-122"/>
                <a:cs typeface="Segoe UI Light" panose="020B0502040204020203" pitchFamily="34" charset="0"/>
              </a:rPr>
              <a:t>Annual Production Capacity</a:t>
            </a:r>
          </a:p>
          <a:p>
            <a:endParaRPr lang="zh-CN" altLang="en-US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54" name="文本框 153"/>
          <p:cNvSpPr txBox="1"/>
          <p:nvPr/>
        </p:nvSpPr>
        <p:spPr>
          <a:xfrm>
            <a:off x="3255809" y="1939845"/>
            <a:ext cx="2160000" cy="12895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4000" b="1" dirty="0" smtClean="0">
                <a:solidFill>
                  <a:schemeClr val="bg1"/>
                </a:solidFill>
                <a:latin typeface="Segoe UI Light" panose="020B0502040204020203" pitchFamily="34" charset="0"/>
                <a:ea typeface="Roboto Th" pitchFamily="2" charset="0"/>
                <a:cs typeface="Segoe UI Light" panose="020B0502040204020203" pitchFamily="34" charset="0"/>
              </a:rPr>
              <a:t>60</a:t>
            </a:r>
            <a:endParaRPr lang="en-US" altLang="zh-CN" sz="4000" b="1" dirty="0">
              <a:solidFill>
                <a:schemeClr val="bg1"/>
              </a:solidFill>
              <a:latin typeface="Segoe UI Light" panose="020B0502040204020203" pitchFamily="34" charset="0"/>
              <a:ea typeface="Roboto Th" pitchFamily="2" charset="0"/>
              <a:cs typeface="Segoe UI Light" panose="020B0502040204020203" pitchFamily="34" charset="0"/>
            </a:endParaRPr>
          </a:p>
          <a:p>
            <a:pPr defTabSz="895350" eaLnBrk="0" hangingPunct="0">
              <a:lnSpc>
                <a:spcPct val="110000"/>
              </a:lnSpc>
              <a:spcBef>
                <a:spcPct val="0"/>
              </a:spcBef>
              <a:buClr>
                <a:srgbClr val="68BD82"/>
              </a:buClr>
            </a:pPr>
            <a:r>
              <a:rPr lang="en-US" altLang="zh-CN" dirty="0">
                <a:solidFill>
                  <a:schemeClr val="bg1"/>
                </a:solidFill>
                <a:latin typeface="Segoe UI Light" panose="020B0502040204020203" pitchFamily="34" charset="0"/>
                <a:ea typeface="Roboto Th" pitchFamily="2" charset="0"/>
                <a:cs typeface="Segoe UI Light" panose="020B0502040204020203" pitchFamily="34" charset="0"/>
              </a:rPr>
              <a:t>Manufacturing Base</a:t>
            </a:r>
            <a:endParaRPr lang="zh-CN" altLang="en-US" dirty="0">
              <a:solidFill>
                <a:schemeClr val="bg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  <a:p>
            <a:endParaRPr lang="zh-CN" altLang="en-US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55" name="文本框 154"/>
          <p:cNvSpPr txBox="1"/>
          <p:nvPr/>
        </p:nvSpPr>
        <p:spPr>
          <a:xfrm>
            <a:off x="3250926" y="4094596"/>
            <a:ext cx="2160000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4000" b="1" dirty="0" smtClean="0">
                <a:solidFill>
                  <a:schemeClr val="bg1"/>
                </a:solidFill>
                <a:latin typeface="Segoe UI Light" panose="020B0502040204020203" pitchFamily="34" charset="0"/>
                <a:ea typeface="Roboto Th" pitchFamily="2" charset="0"/>
                <a:cs typeface="Segoe UI Light" panose="020B0502040204020203" pitchFamily="34" charset="0"/>
              </a:rPr>
              <a:t>92GW</a:t>
            </a:r>
          </a:p>
          <a:p>
            <a:r>
              <a:rPr lang="en-US" altLang="zh-CN" dirty="0" smtClean="0">
                <a:solidFill>
                  <a:schemeClr val="bg1"/>
                </a:solidFill>
                <a:latin typeface="Segoe UI Light" panose="020B0502040204020203" pitchFamily="34" charset="0"/>
                <a:ea typeface="宋体" pitchFamily="2" charset="-122"/>
                <a:cs typeface="Segoe UI Light" panose="020B0502040204020203" pitchFamily="34" charset="0"/>
              </a:rPr>
              <a:t>Total Capacity of provided turnkey solution globally</a:t>
            </a:r>
            <a:endParaRPr lang="en-US" altLang="zh-CN" dirty="0">
              <a:solidFill>
                <a:schemeClr val="bg1"/>
              </a:solidFill>
              <a:latin typeface="Segoe UI Light" panose="020B0502040204020203" pitchFamily="34" charset="0"/>
              <a:ea typeface="宋体" pitchFamily="2" charset="-122"/>
              <a:cs typeface="Segoe UI Light" panose="020B0502040204020203" pitchFamily="34" charset="0"/>
            </a:endParaRPr>
          </a:p>
          <a:p>
            <a:endParaRPr lang="en-US" altLang="zh-CN" dirty="0">
              <a:solidFill>
                <a:schemeClr val="bg1"/>
              </a:solidFill>
              <a:latin typeface="Segoe UI Light" panose="020B0502040204020203" pitchFamily="34" charset="0"/>
              <a:ea typeface="Roboto Th" pitchFamily="2" charset="0"/>
              <a:cs typeface="Segoe UI Light" panose="020B0502040204020203" pitchFamily="34" charset="0"/>
            </a:endParaRPr>
          </a:p>
        </p:txBody>
      </p:sp>
      <p:sp>
        <p:nvSpPr>
          <p:cNvPr id="156" name="文本框 155"/>
          <p:cNvSpPr txBox="1"/>
          <p:nvPr/>
        </p:nvSpPr>
        <p:spPr>
          <a:xfrm>
            <a:off x="5499293" y="4094596"/>
            <a:ext cx="2160000" cy="153888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4000" b="1" dirty="0" smtClean="0">
                <a:solidFill>
                  <a:schemeClr val="bg1"/>
                </a:solidFill>
                <a:latin typeface="Segoe UI Light" panose="020B0502040204020203" pitchFamily="34" charset="0"/>
                <a:ea typeface="Roboto Th" pitchFamily="2" charset="0"/>
                <a:cs typeface="Segoe UI Light" panose="020B0502040204020203" pitchFamily="34" charset="0"/>
              </a:rPr>
              <a:t>40GW</a:t>
            </a:r>
            <a:endParaRPr lang="en-US" altLang="zh-CN" sz="4000" b="1" dirty="0">
              <a:solidFill>
                <a:schemeClr val="bg1"/>
              </a:solidFill>
              <a:latin typeface="Segoe UI Light" panose="020B0502040204020203" pitchFamily="34" charset="0"/>
              <a:ea typeface="Roboto Th" pitchFamily="2" charset="0"/>
              <a:cs typeface="Segoe UI Light" panose="020B0502040204020203" pitchFamily="34" charset="0"/>
            </a:endParaRPr>
          </a:p>
          <a:p>
            <a:r>
              <a:rPr lang="en-US" altLang="zh-CN" dirty="0">
                <a:solidFill>
                  <a:schemeClr val="bg1"/>
                </a:solidFill>
                <a:latin typeface="Segoe UI Light" panose="020B0502040204020203" pitchFamily="34" charset="0"/>
                <a:ea typeface="宋体" pitchFamily="2" charset="-122"/>
                <a:cs typeface="Segoe UI Light" panose="020B0502040204020203" pitchFamily="34" charset="0"/>
              </a:rPr>
              <a:t>Total Capacity of provided </a:t>
            </a:r>
            <a:r>
              <a:rPr lang="en-US" altLang="zh-CN" dirty="0" smtClean="0">
                <a:solidFill>
                  <a:schemeClr val="bg1"/>
                </a:solidFill>
                <a:latin typeface="Segoe UI Light" panose="020B0502040204020203" pitchFamily="34" charset="0"/>
                <a:ea typeface="宋体" pitchFamily="2" charset="-122"/>
                <a:cs typeface="Segoe UI Light" panose="020B0502040204020203" pitchFamily="34" charset="0"/>
              </a:rPr>
              <a:t>EPC services</a:t>
            </a:r>
            <a:endParaRPr lang="en-US" altLang="zh-CN" dirty="0">
              <a:solidFill>
                <a:schemeClr val="bg1"/>
              </a:solidFill>
              <a:latin typeface="Segoe UI Light" panose="020B0502040204020203" pitchFamily="34" charset="0"/>
              <a:ea typeface="宋体" pitchFamily="2" charset="-122"/>
              <a:cs typeface="Segoe UI Light" panose="020B0502040204020203" pitchFamily="34" charset="0"/>
            </a:endParaRPr>
          </a:p>
        </p:txBody>
      </p:sp>
      <p:sp>
        <p:nvSpPr>
          <p:cNvPr id="157" name="文本框 156"/>
          <p:cNvSpPr txBox="1"/>
          <p:nvPr/>
        </p:nvSpPr>
        <p:spPr>
          <a:xfrm>
            <a:off x="5558744" y="1899000"/>
            <a:ext cx="554992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endParaRPr lang="zh-CN" altLang="en-US" dirty="0">
              <a:solidFill>
                <a:schemeClr val="bg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58" name="矩形 157"/>
          <p:cNvSpPr/>
          <p:nvPr/>
        </p:nvSpPr>
        <p:spPr>
          <a:xfrm>
            <a:off x="5485565" y="2653466"/>
            <a:ext cx="5623105" cy="52219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r>
              <a:rPr lang="en-US" altLang="zh-CN" sz="2800" b="1" dirty="0" smtClean="0">
                <a:solidFill>
                  <a:prstClr val="white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263 </a:t>
            </a:r>
            <a:r>
              <a:rPr lang="en-US" altLang="zh-CN" dirty="0" smtClean="0">
                <a:solidFill>
                  <a:prstClr val="white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units 600MW </a:t>
            </a:r>
            <a:r>
              <a:rPr lang="en-US" altLang="zh-CN" dirty="0">
                <a:solidFill>
                  <a:prstClr val="white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lass ordered, </a:t>
            </a:r>
            <a:r>
              <a:rPr lang="en-US" altLang="zh-CN" sz="2800" b="1" dirty="0" smtClean="0">
                <a:solidFill>
                  <a:prstClr val="white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173</a:t>
            </a:r>
            <a:r>
              <a:rPr lang="en-US" altLang="zh-CN" dirty="0" smtClean="0">
                <a:solidFill>
                  <a:prstClr val="white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ommissioned</a:t>
            </a:r>
            <a:endParaRPr lang="zh-CN" altLang="en-US" dirty="0">
              <a:solidFill>
                <a:schemeClr val="bg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60" name="矩形 159"/>
          <p:cNvSpPr/>
          <p:nvPr/>
        </p:nvSpPr>
        <p:spPr>
          <a:xfrm>
            <a:off x="7856165" y="4419000"/>
            <a:ext cx="1885453" cy="107414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895350">
              <a:lnSpc>
                <a:spcPct val="110000"/>
              </a:lnSpc>
              <a:spcBef>
                <a:spcPct val="0"/>
              </a:spcBef>
              <a:buClr>
                <a:schemeClr val="tx2"/>
              </a:buClr>
              <a:buSzPct val="120000"/>
            </a:pPr>
            <a:r>
              <a:rPr lang="en-US" altLang="zh-CN" sz="4000" b="1" dirty="0" smtClean="0">
                <a:solidFill>
                  <a:schemeClr val="bg1"/>
                </a:solidFill>
                <a:latin typeface="Segoe UI Light" panose="020B0502040204020203" pitchFamily="34" charset="0"/>
                <a:ea typeface="Roboto Th" pitchFamily="2" charset="0"/>
                <a:cs typeface="Segoe UI Light" panose="020B0502040204020203" pitchFamily="34" charset="0"/>
              </a:rPr>
              <a:t>No.100 </a:t>
            </a:r>
          </a:p>
          <a:p>
            <a:pPr defTabSz="895350">
              <a:lnSpc>
                <a:spcPct val="110000"/>
              </a:lnSpc>
              <a:spcBef>
                <a:spcPct val="0"/>
              </a:spcBef>
              <a:buClr>
                <a:schemeClr val="tx2"/>
              </a:buClr>
              <a:buSzPct val="120000"/>
            </a:pPr>
            <a:r>
              <a:rPr lang="en-US" altLang="zh-CN" dirty="0" smtClean="0">
                <a:solidFill>
                  <a:schemeClr val="bg1"/>
                </a:solidFill>
                <a:latin typeface="Segoe UI Light" panose="020B0502040204020203" pitchFamily="34" charset="0"/>
                <a:ea typeface="Roboto Th" pitchFamily="2" charset="0"/>
                <a:cs typeface="Segoe UI Light" panose="020B0502040204020203" pitchFamily="34" charset="0"/>
              </a:rPr>
              <a:t>All Sectors</a:t>
            </a:r>
            <a:endParaRPr lang="en-US" altLang="zh-CN" dirty="0">
              <a:solidFill>
                <a:schemeClr val="bg1"/>
              </a:solidFill>
              <a:latin typeface="Segoe UI Light" panose="020B0502040204020203" pitchFamily="34" charset="0"/>
              <a:ea typeface="Roboto Th" pitchFamily="2" charset="0"/>
              <a:cs typeface="Segoe UI Light" panose="020B0502040204020203" pitchFamily="34" charset="0"/>
            </a:endParaRPr>
          </a:p>
        </p:txBody>
      </p:sp>
      <p:sp>
        <p:nvSpPr>
          <p:cNvPr id="163" name="矩形 162"/>
          <p:cNvSpPr/>
          <p:nvPr/>
        </p:nvSpPr>
        <p:spPr>
          <a:xfrm>
            <a:off x="972995" y="6277541"/>
            <a:ext cx="1794081" cy="2585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 defTabSz="895350" eaLnBrk="0" hangingPunct="0">
              <a:lnSpc>
                <a:spcPct val="120000"/>
              </a:lnSpc>
              <a:spcBef>
                <a:spcPct val="0"/>
              </a:spcBef>
              <a:buClr>
                <a:srgbClr val="68BD82"/>
              </a:buClr>
            </a:pPr>
            <a:r>
              <a:rPr kumimoji="0" lang="en-US" altLang="zh-CN" sz="900" b="1" kern="0" dirty="0" smtClean="0">
                <a:solidFill>
                  <a:srgbClr val="000000"/>
                </a:solidFill>
                <a:latin typeface="Segoe UI Light" panose="020B0502040204020203" pitchFamily="34" charset="0"/>
                <a:ea typeface="Roboto Th" pitchFamily="2" charset="0"/>
                <a:cs typeface="Segoe UI Light" panose="020B0502040204020203" pitchFamily="34" charset="0"/>
              </a:rPr>
              <a:t>Source: </a:t>
            </a:r>
            <a:r>
              <a:rPr kumimoji="0" lang="en-US" altLang="zh-CN" sz="900" kern="0" dirty="0" smtClean="0">
                <a:solidFill>
                  <a:srgbClr val="000000"/>
                </a:solidFill>
                <a:latin typeface="Segoe UI Light" panose="020B0502040204020203" pitchFamily="34" charset="0"/>
                <a:ea typeface="Roboto Th" pitchFamily="2" charset="0"/>
                <a:cs typeface="Segoe UI Light" panose="020B0502040204020203" pitchFamily="34" charset="0"/>
              </a:rPr>
              <a:t>SE project database 2016</a:t>
            </a:r>
            <a:endParaRPr kumimoji="0" lang="en-US" altLang="zh-CN" sz="900" kern="0" dirty="0">
              <a:solidFill>
                <a:srgbClr val="000000"/>
              </a:solidFill>
              <a:latin typeface="Segoe UI Light" panose="020B0502040204020203" pitchFamily="34" charset="0"/>
              <a:ea typeface="Roboto Th" pitchFamily="2" charset="0"/>
              <a:cs typeface="Segoe UI Light" panose="020B0502040204020203" pitchFamily="34" charset="0"/>
            </a:endParaRPr>
          </a:p>
        </p:txBody>
      </p:sp>
      <p:sp>
        <p:nvSpPr>
          <p:cNvPr id="164" name="矩形 163"/>
          <p:cNvSpPr/>
          <p:nvPr/>
        </p:nvSpPr>
        <p:spPr>
          <a:xfrm>
            <a:off x="5485565" y="3345892"/>
            <a:ext cx="5623105" cy="522192"/>
          </a:xfrm>
          <a:prstGeom prst="rect">
            <a:avLst/>
          </a:prstGeom>
          <a:solidFill>
            <a:srgbClr val="00ACB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altLang="zh-CN" sz="2800" b="1" dirty="0" smtClean="0">
                <a:solidFill>
                  <a:prstClr val="white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373 </a:t>
            </a:r>
            <a:r>
              <a:rPr lang="en-US" altLang="zh-CN" dirty="0" smtClean="0">
                <a:solidFill>
                  <a:prstClr val="white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units 300MW </a:t>
            </a:r>
            <a:r>
              <a:rPr lang="en-US" altLang="zh-CN" dirty="0">
                <a:solidFill>
                  <a:prstClr val="white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lass ordered, </a:t>
            </a:r>
            <a:r>
              <a:rPr lang="en-US" altLang="zh-CN" sz="2800" b="1" dirty="0" smtClean="0">
                <a:solidFill>
                  <a:prstClr val="white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337</a:t>
            </a:r>
            <a:r>
              <a:rPr lang="en-US" altLang="zh-CN" dirty="0" smtClean="0">
                <a:solidFill>
                  <a:prstClr val="white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ommissioned</a:t>
            </a:r>
            <a:endParaRPr lang="zh-CN" altLang="en-US" dirty="0">
              <a:solidFill>
                <a:schemeClr val="bg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43" name="文本框 142"/>
          <p:cNvSpPr txBox="1"/>
          <p:nvPr/>
        </p:nvSpPr>
        <p:spPr>
          <a:xfrm>
            <a:off x="1012187" y="4094596"/>
            <a:ext cx="1919589" cy="153888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4000" b="1" dirty="0" smtClean="0">
                <a:solidFill>
                  <a:schemeClr val="bg1"/>
                </a:solidFill>
                <a:latin typeface="Segoe UI Light" panose="020B0502040204020203" pitchFamily="34" charset="0"/>
                <a:ea typeface="Roboto Th" pitchFamily="2" charset="0"/>
                <a:cs typeface="Segoe UI Light" panose="020B0502040204020203" pitchFamily="34" charset="0"/>
              </a:rPr>
              <a:t>20+</a:t>
            </a:r>
            <a:endParaRPr lang="en-US" altLang="zh-CN" sz="4000" b="1" dirty="0">
              <a:solidFill>
                <a:schemeClr val="bg1"/>
              </a:solidFill>
              <a:latin typeface="Segoe UI Light" panose="020B0502040204020203" pitchFamily="34" charset="0"/>
              <a:ea typeface="Roboto Th" pitchFamily="2" charset="0"/>
              <a:cs typeface="Segoe UI Light" panose="020B0502040204020203" pitchFamily="34" charset="0"/>
            </a:endParaRPr>
          </a:p>
          <a:p>
            <a:r>
              <a:rPr lang="en-US" altLang="zh-CN" dirty="0" smtClean="0">
                <a:solidFill>
                  <a:schemeClr val="bg1"/>
                </a:solidFill>
                <a:latin typeface="Segoe UI Light" panose="020B0502040204020203" pitchFamily="34" charset="0"/>
                <a:ea typeface="宋体" pitchFamily="2" charset="-122"/>
                <a:cs typeface="Segoe UI Light" panose="020B0502040204020203" pitchFamily="34" charset="0"/>
              </a:rPr>
              <a:t>Years experiences as EPC contractor in global market </a:t>
            </a:r>
            <a:endParaRPr lang="en-US" altLang="zh-CN" dirty="0">
              <a:solidFill>
                <a:schemeClr val="bg1"/>
              </a:solidFill>
              <a:latin typeface="Segoe UI Light" panose="020B0502040204020203" pitchFamily="34" charset="0"/>
              <a:ea typeface="宋体" pitchFamily="2" charset="-122"/>
              <a:cs typeface="Segoe UI Light" panose="020B0502040204020203" pitchFamily="34" charset="0"/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77379" y="4014524"/>
            <a:ext cx="1398190" cy="2027376"/>
          </a:xfrm>
          <a:prstGeom prst="rect">
            <a:avLst/>
          </a:prstGeom>
        </p:spPr>
      </p:pic>
      <p:pic>
        <p:nvPicPr>
          <p:cNvPr id="23" name="图片 22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87280" y="395694"/>
            <a:ext cx="1747520" cy="5827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5955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537871" y="715134"/>
            <a:ext cx="7955889" cy="30672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896112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 fontAlgn="auto">
              <a:spcAft>
                <a:spcPts val="0"/>
              </a:spcAft>
            </a:pPr>
            <a:r>
              <a:rPr lang="en-US" altLang="zh-CN" sz="2800" b="1" dirty="0" smtClean="0">
                <a:solidFill>
                  <a:srgbClr val="0070C0"/>
                </a:solidFill>
                <a:latin typeface="Segoe UI Light" panose="020B0502040204020203" pitchFamily="34" charset="0"/>
                <a:ea typeface="宋体" pitchFamily="2" charset="-122"/>
              </a:rPr>
              <a:t>Highlight of China Domestic Power Market</a:t>
            </a:r>
            <a:endParaRPr kumimoji="0" lang="en-US" altLang="zh-CN" sz="2800" b="1" dirty="0" smtClean="0">
              <a:solidFill>
                <a:srgbClr val="0070C0"/>
              </a:solidFill>
              <a:latin typeface="Segoe UI Light" panose="020B0502040204020203" pitchFamily="34" charset="0"/>
              <a:ea typeface="宋体" pitchFamily="2" charset="-122"/>
            </a:endParaRPr>
          </a:p>
        </p:txBody>
      </p:sp>
      <p:sp>
        <p:nvSpPr>
          <p:cNvPr id="5" name="Rectangle 53"/>
          <p:cNvSpPr>
            <a:spLocks noChangeArrowheads="1"/>
          </p:cNvSpPr>
          <p:nvPr/>
        </p:nvSpPr>
        <p:spPr bwMode="auto">
          <a:xfrm>
            <a:off x="4734568" y="1914619"/>
            <a:ext cx="6705000" cy="3884901"/>
          </a:xfrm>
          <a:prstGeom prst="rect">
            <a:avLst/>
          </a:prstGeom>
          <a:solidFill>
            <a:srgbClr val="0070C0"/>
          </a:solidFill>
          <a:ln>
            <a:noFill/>
          </a:ln>
          <a:extLst/>
        </p:spPr>
        <p:txBody>
          <a:bodyPr lIns="36000" tIns="0" rIns="36000" bIns="0"/>
          <a:lstStyle>
            <a:lvl1pPr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l">
              <a:lnSpc>
                <a:spcPct val="150000"/>
              </a:lnSpc>
            </a:pPr>
            <a:endParaRPr lang="en-US" altLang="zh-CN" sz="1400" b="0" dirty="0">
              <a:solidFill>
                <a:schemeClr val="bg1"/>
              </a:solidFill>
              <a:latin typeface="Segoe UI Light" panose="020B0502040204020203" pitchFamily="34" charset="0"/>
              <a:ea typeface="微软雅黑 Light" panose="020B0502040204020203" pitchFamily="34" charset="-122"/>
              <a:cs typeface="Segoe UI Light" panose="020B0502040204020203" pitchFamily="34" charset="0"/>
            </a:endParaRPr>
          </a:p>
        </p:txBody>
      </p:sp>
      <p:sp>
        <p:nvSpPr>
          <p:cNvPr id="6" name="文本框 5"/>
          <p:cNvSpPr txBox="1"/>
          <p:nvPr/>
        </p:nvSpPr>
        <p:spPr>
          <a:xfrm>
            <a:off x="5004568" y="2184140"/>
            <a:ext cx="5805000" cy="3342453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marL="285750" indent="-285750">
              <a:lnSpc>
                <a:spcPct val="140000"/>
              </a:lnSpc>
              <a:buFont typeface="Arial" panose="020B0604020202020204" pitchFamily="34" charset="0"/>
              <a:buChar char="•"/>
              <a:defRPr sz="1400" b="1">
                <a:solidFill>
                  <a:schemeClr val="bg1"/>
                </a:solidFill>
                <a:latin typeface="微软雅黑 Light" panose="02010600030101010101" charset="-122"/>
                <a:ea typeface="微软雅黑 Light" panose="02010600030101010101" charset="-122"/>
                <a:cs typeface="Segoe UI Light" panose="020B0502040204020203" pitchFamily="34" charset="0"/>
              </a:defRPr>
            </a:lvl1pPr>
          </a:lstStyle>
          <a:p>
            <a:r>
              <a:rPr lang="en-US" altLang="zh-CN" sz="2200" dirty="0">
                <a:latin typeface="Segoe UI Light" panose="020B0502040204020203" pitchFamily="34" charset="0"/>
                <a:ea typeface="+mn-ea"/>
                <a:cs typeface="+mn-cs"/>
              </a:rPr>
              <a:t>Total Capacity of Coal fired power in 2016</a:t>
            </a:r>
          </a:p>
          <a:p>
            <a:pPr lvl="1"/>
            <a:r>
              <a:rPr lang="en-US" altLang="zh-CN" sz="2200" dirty="0">
                <a:solidFill>
                  <a:schemeClr val="bg1"/>
                </a:solidFill>
                <a:latin typeface="Segoe UI Light" panose="020B0502040204020203" pitchFamily="34" charset="0"/>
              </a:rPr>
              <a:t>950 million kilo watt</a:t>
            </a:r>
          </a:p>
          <a:p>
            <a:r>
              <a:rPr lang="en-US" altLang="zh-CN" sz="2200" dirty="0">
                <a:latin typeface="Segoe UI Light" panose="020B0502040204020203" pitchFamily="34" charset="0"/>
                <a:ea typeface="+mn-ea"/>
                <a:cs typeface="+mn-cs"/>
              </a:rPr>
              <a:t>Total Capacity Assumption in 2020</a:t>
            </a:r>
          </a:p>
          <a:p>
            <a:pPr lvl="1"/>
            <a:r>
              <a:rPr lang="en-US" altLang="zh-CN" sz="2200" dirty="0">
                <a:solidFill>
                  <a:schemeClr val="bg1"/>
                </a:solidFill>
                <a:latin typeface="Segoe UI Light" panose="020B0502040204020203" pitchFamily="34" charset="0"/>
              </a:rPr>
              <a:t>1.1 billion kilo watt</a:t>
            </a:r>
          </a:p>
          <a:p>
            <a:r>
              <a:rPr lang="en-US" altLang="zh-CN" sz="2200" dirty="0">
                <a:latin typeface="Segoe UI Light" panose="020B0502040204020203" pitchFamily="34" charset="0"/>
                <a:ea typeface="+mn-ea"/>
                <a:cs typeface="+mn-cs"/>
              </a:rPr>
              <a:t>Total Electric Power Production in 2017</a:t>
            </a:r>
          </a:p>
          <a:p>
            <a:pPr lvl="1"/>
            <a:r>
              <a:rPr lang="en-US" altLang="zh-CN" sz="2200" dirty="0">
                <a:solidFill>
                  <a:schemeClr val="bg1"/>
                </a:solidFill>
                <a:latin typeface="Segoe UI Light" panose="020B0502040204020203" pitchFamily="34" charset="0"/>
              </a:rPr>
              <a:t>6495.1 billion kilowatt-hour</a:t>
            </a:r>
          </a:p>
          <a:p>
            <a:r>
              <a:rPr lang="en-US" altLang="zh-CN" sz="2200" dirty="0">
                <a:latin typeface="Segoe UI Light" panose="020B0502040204020203" pitchFamily="34" charset="0"/>
                <a:ea typeface="+mn-ea"/>
                <a:cs typeface="+mn-cs"/>
              </a:rPr>
              <a:t>In which, Thermal Power Production</a:t>
            </a:r>
          </a:p>
          <a:p>
            <a:pPr lvl="1"/>
            <a:r>
              <a:rPr lang="en-US" altLang="zh-CN" sz="2200" dirty="0">
                <a:solidFill>
                  <a:schemeClr val="bg1"/>
                </a:solidFill>
                <a:latin typeface="Segoe UI Light" panose="020B0502040204020203" pitchFamily="34" charset="0"/>
              </a:rPr>
              <a:t>4662.7 billion kilowatt-hour</a:t>
            </a:r>
            <a:endParaRPr lang="zh-CN" altLang="en-US" sz="2200" dirty="0">
              <a:solidFill>
                <a:schemeClr val="bg1"/>
              </a:solidFill>
              <a:latin typeface="Segoe UI Light" panose="020B0502040204020203" pitchFamily="34" charset="0"/>
            </a:endParaRPr>
          </a:p>
        </p:txBody>
      </p:sp>
      <p:pic>
        <p:nvPicPr>
          <p:cNvPr id="8" name="图片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6000" y="1914619"/>
            <a:ext cx="3881496" cy="3881496"/>
          </a:xfrm>
          <a:prstGeom prst="rect">
            <a:avLst/>
          </a:prstGeom>
        </p:spPr>
      </p:pic>
      <p:pic>
        <p:nvPicPr>
          <p:cNvPr id="9" name="图片 8"/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780"/>
          <a:stretch/>
        </p:blipFill>
        <p:spPr>
          <a:xfrm>
            <a:off x="887496" y="1914619"/>
            <a:ext cx="3870000" cy="38872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234304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图片 10"/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197"/>
          <a:stretch/>
        </p:blipFill>
        <p:spPr>
          <a:xfrm>
            <a:off x="0" y="1544213"/>
            <a:ext cx="12214746" cy="5313788"/>
          </a:xfrm>
          <a:prstGeom prst="rect">
            <a:avLst/>
          </a:prstGeom>
        </p:spPr>
      </p:pic>
      <p:sp>
        <p:nvSpPr>
          <p:cNvPr id="164" name="Rectangle 2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-195280" y="554648"/>
            <a:ext cx="8304708" cy="54263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defPPr>
              <a:defRPr lang="zh-CN"/>
            </a:defPPr>
            <a:lvl1pPr algn="ctr" defTabSz="896112" fontAlgn="auto">
              <a:spcBef>
                <a:spcPct val="0"/>
              </a:spcBef>
              <a:spcAft>
                <a:spcPts val="0"/>
              </a:spcAft>
              <a:buNone/>
              <a:defRPr sz="2800" b="1">
                <a:solidFill>
                  <a:srgbClr val="0070C0"/>
                </a:solidFill>
                <a:latin typeface="+mj-lt"/>
                <a:ea typeface="宋体" pitchFamily="2" charset="-122"/>
                <a:cs typeface="+mj-cs"/>
              </a:defRPr>
            </a:lvl1pPr>
          </a:lstStyle>
          <a:p>
            <a:r>
              <a:rPr lang="en-US" altLang="zh-CN" dirty="0" smtClean="0">
                <a:latin typeface="Segoe UI Light" panose="020B0502040204020203" pitchFamily="34" charset="0"/>
              </a:rPr>
              <a:t>Project </a:t>
            </a:r>
            <a:r>
              <a:rPr lang="en-US" altLang="zh-CN" dirty="0">
                <a:latin typeface="Segoe UI Light" panose="020B0502040204020203" pitchFamily="34" charset="0"/>
              </a:rPr>
              <a:t>Case</a:t>
            </a:r>
            <a:r>
              <a:rPr lang="en-US" altLang="zh-CN" dirty="0" smtClean="0">
                <a:latin typeface="Segoe UI Light" panose="020B0502040204020203" pitchFamily="34" charset="0"/>
              </a:rPr>
              <a:t>: World’s </a:t>
            </a:r>
            <a:r>
              <a:rPr lang="en-US" altLang="zh-CN" dirty="0">
                <a:latin typeface="Segoe UI Light" panose="020B0502040204020203" pitchFamily="34" charset="0"/>
              </a:rPr>
              <a:t>Biggest Coal Fired </a:t>
            </a:r>
            <a:r>
              <a:rPr lang="en-US" altLang="zh-CN" dirty="0" smtClean="0">
                <a:latin typeface="Segoe UI Light" panose="020B0502040204020203" pitchFamily="34" charset="0"/>
              </a:rPr>
              <a:t>Units</a:t>
            </a:r>
            <a:endParaRPr lang="en-US" altLang="zh-CN" dirty="0">
              <a:latin typeface="Segoe UI Light" panose="020B0502040204020203" pitchFamily="34" charset="0"/>
            </a:endParaRPr>
          </a:p>
        </p:txBody>
      </p:sp>
      <p:cxnSp>
        <p:nvCxnSpPr>
          <p:cNvPr id="5" name="直接连接符 36"/>
          <p:cNvCxnSpPr>
            <a:cxnSpLocks noChangeShapeType="1"/>
          </p:cNvCxnSpPr>
          <p:nvPr/>
        </p:nvCxnSpPr>
        <p:spPr bwMode="auto">
          <a:xfrm>
            <a:off x="-309979" y="1544213"/>
            <a:ext cx="13050000" cy="0"/>
          </a:xfrm>
          <a:prstGeom prst="line">
            <a:avLst/>
          </a:prstGeom>
          <a:noFill/>
          <a:ln w="9525" algn="ctr">
            <a:solidFill>
              <a:srgbClr val="8BCC34"/>
            </a:solidFill>
            <a:round/>
            <a:headEnd/>
            <a:tailEnd/>
          </a:ln>
        </p:spPr>
      </p:cxnSp>
      <p:sp>
        <p:nvSpPr>
          <p:cNvPr id="3" name="矩形 2"/>
          <p:cNvSpPr/>
          <p:nvPr/>
        </p:nvSpPr>
        <p:spPr>
          <a:xfrm>
            <a:off x="966000" y="1555329"/>
            <a:ext cx="6054158" cy="424732"/>
          </a:xfrm>
          <a:prstGeom prst="rect">
            <a:avLst/>
          </a:prstGeom>
          <a:solidFill>
            <a:srgbClr val="6CC13C"/>
          </a:solidFill>
          <a:ln w="25400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>
            <a:spAutoFit/>
          </a:bodyPr>
          <a:lstStyle/>
          <a:p>
            <a:pPr>
              <a:lnSpc>
                <a:spcPct val="120000"/>
              </a:lnSpc>
            </a:pPr>
            <a:r>
              <a:rPr lang="en-US" altLang="zh-CN" b="1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   </a:t>
            </a:r>
            <a:r>
              <a:rPr lang="en-US" altLang="zh-CN" b="1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Yangxi</a:t>
            </a:r>
            <a:r>
              <a:rPr lang="en-US" altLang="zh-CN" b="1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Thermal Power </a:t>
            </a:r>
            <a:r>
              <a:rPr lang="en-US" altLang="zh-CN" b="1" dirty="0" smtClean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lant Phase I &amp; II</a:t>
            </a:r>
            <a:endParaRPr lang="en-US" altLang="zh-CN" b="1" dirty="0">
              <a:solidFill>
                <a:schemeClr val="bg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8" name="TextBox 11"/>
          <p:cNvSpPr txBox="1">
            <a:spLocks noChangeArrowheads="1"/>
          </p:cNvSpPr>
          <p:nvPr/>
        </p:nvSpPr>
        <p:spPr bwMode="auto">
          <a:xfrm>
            <a:off x="8616000" y="1677771"/>
            <a:ext cx="3429000" cy="3649332"/>
          </a:xfrm>
          <a:prstGeom prst="rect">
            <a:avLst/>
          </a:prstGeom>
          <a:solidFill>
            <a:srgbClr val="194CA1">
              <a:alpha val="63922"/>
            </a:srgbClr>
          </a:solidFill>
          <a:ln w="25400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>
            <a:spAutoFit/>
          </a:bodyPr>
          <a:lstStyle/>
          <a:p>
            <a:pPr marL="0" lvl="1" indent="-285750">
              <a:lnSpc>
                <a:spcPct val="120000"/>
              </a:lnSpc>
              <a:buFont typeface="Wingdings" pitchFamily="2" charset="2"/>
              <a:buChar char="l"/>
            </a:pPr>
            <a:r>
              <a:rPr lang="en-US" altLang="zh-CN" b="1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lient:</a:t>
            </a:r>
          </a:p>
          <a:p>
            <a:pPr lvl="1">
              <a:lnSpc>
                <a:spcPct val="120000"/>
              </a:lnSpc>
            </a:pPr>
            <a:r>
              <a:rPr lang="en-US" altLang="zh-CN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Guangdong </a:t>
            </a:r>
            <a:r>
              <a:rPr lang="en-US" altLang="zh-CN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Yangxi</a:t>
            </a:r>
            <a:r>
              <a:rPr lang="en-US" altLang="zh-CN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Power Company</a:t>
            </a:r>
          </a:p>
          <a:p>
            <a:pPr marL="0" lvl="1" indent="-285750">
              <a:lnSpc>
                <a:spcPct val="120000"/>
              </a:lnSpc>
              <a:buFont typeface="Wingdings" pitchFamily="2" charset="2"/>
              <a:buChar char="l"/>
            </a:pPr>
            <a:r>
              <a:rPr lang="en-US" altLang="zh-CN" b="1" dirty="0" smtClean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apacity &amp; Fuel:</a:t>
            </a:r>
          </a:p>
          <a:p>
            <a:pPr lvl="1">
              <a:lnSpc>
                <a:spcPct val="120000"/>
              </a:lnSpc>
            </a:pPr>
            <a:r>
              <a:rPr lang="en-US" altLang="zh-CN" dirty="0" smtClean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1: </a:t>
            </a:r>
            <a:r>
              <a:rPr lang="en-US" altLang="zh-CN" dirty="0" smtClean="0">
                <a:solidFill>
                  <a:schemeClr val="bg1"/>
                </a:solidFill>
                <a:latin typeface="Segoe UI Light" panose="020B0502040204020203" pitchFamily="34" charset="0"/>
              </a:rPr>
              <a:t>4×600MW </a:t>
            </a:r>
            <a:r>
              <a:rPr lang="en-US" altLang="zh-CN" dirty="0">
                <a:solidFill>
                  <a:schemeClr val="bg1"/>
                </a:solidFill>
                <a:latin typeface="Segoe UI Light" panose="020B0502040204020203" pitchFamily="34" charset="0"/>
              </a:rPr>
              <a:t>Coal </a:t>
            </a:r>
            <a:r>
              <a:rPr lang="en-US" altLang="zh-CN" dirty="0" smtClean="0">
                <a:solidFill>
                  <a:schemeClr val="bg1"/>
                </a:solidFill>
                <a:latin typeface="Segoe UI Light" panose="020B0502040204020203" pitchFamily="34" charset="0"/>
              </a:rPr>
              <a:t>fired</a:t>
            </a:r>
          </a:p>
          <a:p>
            <a:pPr lvl="1">
              <a:lnSpc>
                <a:spcPct val="120000"/>
              </a:lnSpc>
            </a:pPr>
            <a:r>
              <a:rPr lang="en-US" altLang="zh-CN" dirty="0" smtClean="0">
                <a:solidFill>
                  <a:schemeClr val="bg1"/>
                </a:solidFill>
                <a:latin typeface="Segoe UI Light" panose="020B0502040204020203" pitchFamily="34" charset="0"/>
              </a:rPr>
              <a:t>P2: 2×1240MW </a:t>
            </a:r>
            <a:r>
              <a:rPr lang="en-US" altLang="zh-CN" dirty="0">
                <a:solidFill>
                  <a:schemeClr val="bg1"/>
                </a:solidFill>
                <a:latin typeface="Segoe UI Light" panose="020B0502040204020203" pitchFamily="34" charset="0"/>
              </a:rPr>
              <a:t>Coal fired</a:t>
            </a:r>
          </a:p>
          <a:p>
            <a:pPr marL="0" lvl="1" indent="-285750">
              <a:lnSpc>
                <a:spcPct val="120000"/>
              </a:lnSpc>
              <a:buFont typeface="Wingdings" pitchFamily="2" charset="2"/>
              <a:buChar char="l"/>
            </a:pPr>
            <a:r>
              <a:rPr lang="en-US" altLang="zh-CN" b="1" dirty="0" smtClean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OD</a:t>
            </a:r>
            <a:r>
              <a:rPr lang="en-US" altLang="zh-CN" b="1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:</a:t>
            </a:r>
          </a:p>
          <a:p>
            <a:pPr marL="0" lvl="1">
              <a:lnSpc>
                <a:spcPct val="120000"/>
              </a:lnSpc>
            </a:pPr>
            <a:r>
              <a:rPr lang="en-US" altLang="zh-CN" dirty="0" smtClean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        P1</a:t>
            </a:r>
            <a:r>
              <a:rPr lang="en-US" altLang="zh-CN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: December, 2009</a:t>
            </a:r>
          </a:p>
          <a:p>
            <a:pPr marL="0" lvl="1">
              <a:lnSpc>
                <a:spcPct val="120000"/>
              </a:lnSpc>
            </a:pPr>
            <a:r>
              <a:rPr lang="en-US" altLang="zh-CN" dirty="0" smtClean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        </a:t>
            </a:r>
            <a:r>
              <a:rPr lang="en-US" altLang="zh-CN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</a:t>
            </a:r>
            <a:r>
              <a:rPr lang="en-US" altLang="zh-CN" dirty="0" smtClean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2</a:t>
            </a:r>
            <a:r>
              <a:rPr lang="en-US" altLang="zh-CN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: </a:t>
            </a:r>
            <a:r>
              <a:rPr lang="en-US" altLang="zh-CN" dirty="0" smtClean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Under Construction</a:t>
            </a:r>
            <a:endParaRPr lang="en-US" altLang="zh-CN" dirty="0">
              <a:solidFill>
                <a:schemeClr val="bg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  <a:p>
            <a:pPr marL="291551" indent="-291551">
              <a:buFont typeface="Wingdings" pitchFamily="2" charset="2"/>
              <a:buChar char="l"/>
              <a:defRPr/>
            </a:pPr>
            <a:r>
              <a:rPr lang="en-US" altLang="zh-CN" sz="1837" b="1" dirty="0" smtClean="0">
                <a:solidFill>
                  <a:schemeClr val="bg1"/>
                </a:solidFill>
                <a:latin typeface="Segoe UI Light" panose="020B0502040204020203" pitchFamily="34" charset="0"/>
              </a:rPr>
              <a:t>Location</a:t>
            </a:r>
            <a:r>
              <a:rPr lang="en-US" altLang="zh-CN" sz="1837" b="1" dirty="0">
                <a:solidFill>
                  <a:schemeClr val="bg1"/>
                </a:solidFill>
                <a:latin typeface="Segoe UI Light" panose="020B0502040204020203" pitchFamily="34" charset="0"/>
              </a:rPr>
              <a:t>: </a:t>
            </a:r>
          </a:p>
          <a:p>
            <a:pPr lvl="1">
              <a:defRPr/>
            </a:pPr>
            <a:r>
              <a:rPr lang="en-US" altLang="zh-CN" sz="1837" dirty="0">
                <a:solidFill>
                  <a:schemeClr val="bg1"/>
                </a:solidFill>
                <a:latin typeface="Segoe UI Light" panose="020B0502040204020203" pitchFamily="34" charset="0"/>
              </a:rPr>
              <a:t>China</a:t>
            </a:r>
          </a:p>
        </p:txBody>
      </p:sp>
      <p:sp>
        <p:nvSpPr>
          <p:cNvPr id="12" name="McK 5. Source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1645751" y="6564117"/>
            <a:ext cx="7002157" cy="1601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/>
          <a:p>
            <a:pPr marL="621975" indent="-621975" defTabSz="913526">
              <a:spcBef>
                <a:spcPct val="0"/>
              </a:spcBef>
              <a:tabLst>
                <a:tab pos="625214" algn="l"/>
              </a:tabLst>
            </a:pPr>
            <a:r>
              <a:rPr lang="en-US" altLang="zh-CN" sz="1020" dirty="0">
                <a:solidFill>
                  <a:schemeClr val="bg1"/>
                </a:solidFill>
                <a:latin typeface="Segoe UI Light" panose="020B0502040204020203" pitchFamily="34" charset="0"/>
                <a:ea typeface="宋体" pitchFamily="2" charset="-122"/>
              </a:rPr>
              <a:t>SOURCE: SECPG’s project database</a:t>
            </a:r>
          </a:p>
        </p:txBody>
      </p:sp>
      <p:sp>
        <p:nvSpPr>
          <p:cNvPr id="10" name="矩形 9"/>
          <p:cNvSpPr/>
          <p:nvPr/>
        </p:nvSpPr>
        <p:spPr>
          <a:xfrm>
            <a:off x="966000" y="5887064"/>
            <a:ext cx="5379450" cy="757130"/>
          </a:xfrm>
          <a:prstGeom prst="rect">
            <a:avLst/>
          </a:prstGeom>
          <a:solidFill>
            <a:srgbClr val="194CA1">
              <a:alpha val="63922"/>
            </a:srgbClr>
          </a:solidFill>
          <a:ln w="25400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</a:pPr>
            <a:r>
              <a:rPr lang="en-US" altLang="zh-CN" b="1" dirty="0" smtClean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hase II: 2x1240MW </a:t>
            </a:r>
          </a:p>
          <a:p>
            <a:pPr>
              <a:lnSpc>
                <a:spcPct val="120000"/>
              </a:lnSpc>
            </a:pPr>
            <a:r>
              <a:rPr lang="en-US" altLang="zh-CN" b="1" dirty="0" smtClean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World’s Biggest Coal Fired Units</a:t>
            </a:r>
            <a:endParaRPr lang="zh-CN" altLang="en-US" b="1" dirty="0">
              <a:solidFill>
                <a:schemeClr val="bg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422023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1000" y="1538310"/>
            <a:ext cx="12213000" cy="5319690"/>
          </a:xfrm>
          <a:prstGeom prst="rect">
            <a:avLst/>
          </a:prstGeom>
          <a:noFill/>
          <a:effectLst>
            <a:outerShdw blurRad="50800" dist="50800" dir="5400000" algn="ctr" rotWithShape="0">
              <a:srgbClr val="000000"/>
            </a:outerShdw>
          </a:effectLst>
        </p:spPr>
      </p:pic>
      <p:sp>
        <p:nvSpPr>
          <p:cNvPr id="3" name="矩形 2"/>
          <p:cNvSpPr/>
          <p:nvPr/>
        </p:nvSpPr>
        <p:spPr>
          <a:xfrm>
            <a:off x="966000" y="1538310"/>
            <a:ext cx="6054158" cy="424732"/>
          </a:xfrm>
          <a:prstGeom prst="rect">
            <a:avLst/>
          </a:prstGeom>
          <a:solidFill>
            <a:srgbClr val="6CC13C"/>
          </a:solidFill>
          <a:ln w="25400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>
            <a:spAutoFit/>
          </a:bodyPr>
          <a:lstStyle/>
          <a:p>
            <a:pPr marL="291551" indent="-291551">
              <a:lnSpc>
                <a:spcPct val="120000"/>
              </a:lnSpc>
              <a:buFont typeface="Wingdings" pitchFamily="2" charset="2"/>
              <a:buChar char="l"/>
              <a:defRPr/>
            </a:pPr>
            <a:r>
              <a:rPr lang="en-US" altLang="zh-CN" dirty="0" err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Taizhou</a:t>
            </a:r>
            <a:r>
              <a:rPr lang="en-US" altLang="zh-CN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en-US" altLang="zh-CN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ower Plant #3</a:t>
            </a:r>
            <a:r>
              <a:rPr lang="en-US" altLang="zh-CN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, </a:t>
            </a:r>
            <a:r>
              <a:rPr lang="en-US" altLang="zh-CN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000MW</a:t>
            </a:r>
            <a:endParaRPr lang="en-US" altLang="zh-CN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0" name="矩形 9"/>
          <p:cNvSpPr/>
          <p:nvPr/>
        </p:nvSpPr>
        <p:spPr>
          <a:xfrm>
            <a:off x="868412" y="5689138"/>
            <a:ext cx="3427588" cy="424732"/>
          </a:xfrm>
          <a:prstGeom prst="rect">
            <a:avLst/>
          </a:prstGeom>
          <a:solidFill>
            <a:srgbClr val="194CA1">
              <a:alpha val="63922"/>
            </a:srgbClr>
          </a:solidFill>
          <a:ln w="25400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</a:pPr>
            <a:r>
              <a:rPr lang="en-US" altLang="zh-CN" b="1" dirty="0" smtClean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oal consumption: 256.8g/kwh</a:t>
            </a:r>
            <a:endParaRPr lang="zh-CN" altLang="en-US" b="1" dirty="0">
              <a:solidFill>
                <a:schemeClr val="bg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2" name="矩形 11"/>
          <p:cNvSpPr/>
          <p:nvPr/>
        </p:nvSpPr>
        <p:spPr>
          <a:xfrm>
            <a:off x="873035" y="5148568"/>
            <a:ext cx="2887588" cy="424732"/>
          </a:xfrm>
          <a:prstGeom prst="rect">
            <a:avLst/>
          </a:prstGeom>
          <a:solidFill>
            <a:srgbClr val="194CA1">
              <a:alpha val="63922"/>
            </a:srgbClr>
          </a:solidFill>
          <a:ln w="25400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</a:pPr>
            <a:r>
              <a:rPr lang="en-US" altLang="zh-CN" b="1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lant efficiency</a:t>
            </a:r>
            <a:r>
              <a:rPr lang="en-US" altLang="zh-CN" b="1" dirty="0" smtClean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: </a:t>
            </a:r>
            <a:r>
              <a:rPr lang="en-US" altLang="zh-CN" b="1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47.82%</a:t>
            </a:r>
            <a:endParaRPr lang="zh-CN" altLang="en-US" b="1" dirty="0">
              <a:solidFill>
                <a:schemeClr val="bg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3" name="矩形 12"/>
          <p:cNvSpPr/>
          <p:nvPr/>
        </p:nvSpPr>
        <p:spPr>
          <a:xfrm>
            <a:off x="868412" y="6219411"/>
            <a:ext cx="5784158" cy="393890"/>
          </a:xfrm>
          <a:prstGeom prst="rect">
            <a:avLst/>
          </a:prstGeom>
          <a:solidFill>
            <a:srgbClr val="194CA1">
              <a:alpha val="63922"/>
            </a:srgbClr>
          </a:solidFill>
          <a:ln w="25400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</a:pPr>
            <a:r>
              <a:rPr lang="en-US" altLang="zh-CN" b="1" dirty="0" smtClean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Highest </a:t>
            </a:r>
            <a:r>
              <a:rPr lang="en-US" altLang="zh-CN" b="1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arameter &amp; Best Efficiency CFPP in the world</a:t>
            </a:r>
            <a:endParaRPr lang="zh-CN" altLang="en-US" b="1" dirty="0">
              <a:solidFill>
                <a:schemeClr val="bg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5" name="矩形 14"/>
          <p:cNvSpPr/>
          <p:nvPr/>
        </p:nvSpPr>
        <p:spPr>
          <a:xfrm>
            <a:off x="868412" y="4618295"/>
            <a:ext cx="3787588" cy="424732"/>
          </a:xfrm>
          <a:prstGeom prst="rect">
            <a:avLst/>
          </a:prstGeom>
          <a:solidFill>
            <a:srgbClr val="194CA1">
              <a:alpha val="63922"/>
            </a:srgbClr>
          </a:solidFill>
          <a:ln w="25400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</a:pPr>
            <a:r>
              <a:rPr lang="en-US" altLang="zh-CN" b="1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First 1000MW DRH (Double Reheat)</a:t>
            </a:r>
          </a:p>
        </p:txBody>
      </p:sp>
      <p:sp>
        <p:nvSpPr>
          <p:cNvPr id="9" name="Rectangle 2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-195280" y="554648"/>
            <a:ext cx="6847850" cy="54263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defPPr>
              <a:defRPr lang="zh-CN"/>
            </a:defPPr>
            <a:lvl1pPr algn="ctr" defTabSz="896112" fontAlgn="auto">
              <a:spcBef>
                <a:spcPct val="0"/>
              </a:spcBef>
              <a:spcAft>
                <a:spcPts val="0"/>
              </a:spcAft>
              <a:buNone/>
              <a:defRPr sz="2800" b="1">
                <a:solidFill>
                  <a:srgbClr val="0070C0"/>
                </a:solidFill>
                <a:latin typeface="+mj-lt"/>
                <a:ea typeface="宋体" pitchFamily="2" charset="-122"/>
                <a:cs typeface="+mj-cs"/>
              </a:defRPr>
            </a:lvl1pPr>
          </a:lstStyle>
          <a:p>
            <a:r>
              <a:rPr lang="en-US" altLang="zh-CN" dirty="0" smtClean="0">
                <a:latin typeface="Segoe UI Light" panose="020B0502040204020203" pitchFamily="34" charset="0"/>
              </a:rPr>
              <a:t>Project </a:t>
            </a:r>
            <a:r>
              <a:rPr lang="en-US" altLang="zh-CN" dirty="0">
                <a:latin typeface="Segoe UI Light" panose="020B0502040204020203" pitchFamily="34" charset="0"/>
              </a:rPr>
              <a:t>Case</a:t>
            </a:r>
            <a:r>
              <a:rPr lang="en-US" altLang="zh-CN" dirty="0" smtClean="0">
                <a:latin typeface="Segoe UI Light" panose="020B0502040204020203" pitchFamily="34" charset="0"/>
              </a:rPr>
              <a:t>: Advanced Technology</a:t>
            </a:r>
            <a:endParaRPr lang="en-US" altLang="zh-CN" dirty="0">
              <a:latin typeface="Segoe UI Light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26442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1"/>
          <p:cNvPicPr>
            <a:picLocks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538310"/>
            <a:ext cx="12192000" cy="5320800"/>
          </a:xfrm>
          <a:prstGeom prst="rect">
            <a:avLst/>
          </a:prstGeom>
        </p:spPr>
      </p:pic>
      <p:cxnSp>
        <p:nvCxnSpPr>
          <p:cNvPr id="5" name="直接连接符 36"/>
          <p:cNvCxnSpPr>
            <a:cxnSpLocks noChangeShapeType="1"/>
          </p:cNvCxnSpPr>
          <p:nvPr/>
        </p:nvCxnSpPr>
        <p:spPr bwMode="auto">
          <a:xfrm>
            <a:off x="-309979" y="1544213"/>
            <a:ext cx="13050000" cy="0"/>
          </a:xfrm>
          <a:prstGeom prst="line">
            <a:avLst/>
          </a:prstGeom>
          <a:noFill/>
          <a:ln w="9525" algn="ctr">
            <a:solidFill>
              <a:srgbClr val="8BCC34"/>
            </a:solidFill>
            <a:round/>
            <a:headEnd/>
            <a:tailEnd/>
          </a:ln>
        </p:spPr>
      </p:cxnSp>
      <p:sp>
        <p:nvSpPr>
          <p:cNvPr id="3" name="矩形 2"/>
          <p:cNvSpPr/>
          <p:nvPr/>
        </p:nvSpPr>
        <p:spPr>
          <a:xfrm>
            <a:off x="41842" y="1530461"/>
            <a:ext cx="6054158" cy="393890"/>
          </a:xfrm>
          <a:prstGeom prst="rect">
            <a:avLst/>
          </a:prstGeom>
          <a:solidFill>
            <a:srgbClr val="6CC13C"/>
          </a:solidFill>
          <a:ln w="25400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>
            <a:spAutoFit/>
          </a:bodyPr>
          <a:lstStyle/>
          <a:p>
            <a:pPr>
              <a:lnSpc>
                <a:spcPct val="120000"/>
              </a:lnSpc>
            </a:pPr>
            <a:r>
              <a:rPr lang="en-US" altLang="zh-CN" b="1" dirty="0" err="1" smtClean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Hamrawein</a:t>
            </a:r>
            <a:r>
              <a:rPr lang="en-US" altLang="zh-CN" b="1" dirty="0" smtClean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6600MW Clean Coal Fired Power Project</a:t>
            </a:r>
            <a:endParaRPr lang="zh-CN" altLang="en-US" b="1" dirty="0">
              <a:solidFill>
                <a:schemeClr val="bg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8" name="TextBox 11"/>
          <p:cNvSpPr txBox="1">
            <a:spLocks noChangeArrowheads="1"/>
          </p:cNvSpPr>
          <p:nvPr/>
        </p:nvSpPr>
        <p:spPr bwMode="auto">
          <a:xfrm>
            <a:off x="41236" y="1922086"/>
            <a:ext cx="4590000" cy="4773358"/>
          </a:xfrm>
          <a:prstGeom prst="rect">
            <a:avLst/>
          </a:prstGeom>
          <a:solidFill>
            <a:srgbClr val="194CA1">
              <a:alpha val="63922"/>
            </a:srgbClr>
          </a:solidFill>
          <a:ln w="25400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pPr marL="291551" indent="-291551">
              <a:lnSpc>
                <a:spcPct val="120000"/>
              </a:lnSpc>
              <a:buFont typeface="Wingdings" pitchFamily="2" charset="2"/>
              <a:buChar char="l"/>
              <a:defRPr/>
            </a:pPr>
            <a:r>
              <a:rPr lang="en-US" altLang="zh-CN" sz="1837" b="1" dirty="0" smtClean="0">
                <a:solidFill>
                  <a:schemeClr val="bg1"/>
                </a:solidFill>
                <a:latin typeface="Segoe UI Light" panose="020B0502040204020203" pitchFamily="34" charset="0"/>
              </a:rPr>
              <a:t>Client:</a:t>
            </a:r>
          </a:p>
          <a:p>
            <a:pPr lvl="1" algn="l">
              <a:lnSpc>
                <a:spcPct val="120000"/>
              </a:lnSpc>
            </a:pPr>
            <a:r>
              <a:rPr lang="en-US" altLang="zh-CN" dirty="0" smtClean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gyptian Electricity Holding Company </a:t>
            </a:r>
            <a:endParaRPr lang="en-US" altLang="zh-CN" sz="1800" dirty="0" smtClean="0">
              <a:solidFill>
                <a:schemeClr val="bg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  <a:p>
            <a:pPr marL="291551" indent="-291551">
              <a:lnSpc>
                <a:spcPct val="120000"/>
              </a:lnSpc>
              <a:buFont typeface="Wingdings" pitchFamily="2" charset="2"/>
              <a:buChar char="l"/>
              <a:defRPr/>
            </a:pPr>
            <a:r>
              <a:rPr lang="en-US" altLang="zh-CN" sz="1837" b="1" dirty="0" smtClean="0">
                <a:solidFill>
                  <a:schemeClr val="bg1"/>
                </a:solidFill>
                <a:latin typeface="Segoe UI Light" panose="020B0502040204020203" pitchFamily="34" charset="0"/>
              </a:rPr>
              <a:t>Capacity </a:t>
            </a:r>
            <a:r>
              <a:rPr lang="en-US" altLang="zh-CN" sz="1837" b="1" dirty="0">
                <a:solidFill>
                  <a:schemeClr val="bg1"/>
                </a:solidFill>
                <a:latin typeface="Segoe UI Light" panose="020B0502040204020203" pitchFamily="34" charset="0"/>
              </a:rPr>
              <a:t>&amp; Fuel:</a:t>
            </a:r>
          </a:p>
          <a:p>
            <a:pPr lvl="1" algn="l">
              <a:lnSpc>
                <a:spcPct val="120000"/>
              </a:lnSpc>
            </a:pPr>
            <a:r>
              <a:rPr lang="en-US" altLang="zh-CN" dirty="0" smtClean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6</a:t>
            </a:r>
            <a:r>
              <a:rPr lang="en-US" altLang="zh-CN" sz="1800" dirty="0" smtClean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x1100MW USC Coal fired</a:t>
            </a:r>
          </a:p>
          <a:p>
            <a:pPr marL="291551" indent="-291551">
              <a:lnSpc>
                <a:spcPct val="120000"/>
              </a:lnSpc>
              <a:buFont typeface="Wingdings" pitchFamily="2" charset="2"/>
              <a:buChar char="l"/>
              <a:defRPr/>
            </a:pPr>
            <a:r>
              <a:rPr lang="en-US" altLang="zh-CN" sz="1837" b="1" dirty="0">
                <a:solidFill>
                  <a:schemeClr val="bg1"/>
                </a:solidFill>
                <a:latin typeface="Segoe UI Light" panose="020B0502040204020203" pitchFamily="34" charset="0"/>
              </a:rPr>
              <a:t> </a:t>
            </a:r>
            <a:r>
              <a:rPr lang="en-US" altLang="zh-CN" sz="1837" b="1" dirty="0" smtClean="0">
                <a:solidFill>
                  <a:schemeClr val="bg1"/>
                </a:solidFill>
                <a:latin typeface="Segoe UI Light" panose="020B0502040204020203" pitchFamily="34" charset="0"/>
              </a:rPr>
              <a:t>COD:</a:t>
            </a:r>
            <a:endParaRPr lang="en-US" altLang="zh-CN" sz="1837" b="1" dirty="0">
              <a:solidFill>
                <a:schemeClr val="bg1"/>
              </a:solidFill>
              <a:latin typeface="Segoe UI Light" panose="020B0502040204020203" pitchFamily="34" charset="0"/>
            </a:endParaRPr>
          </a:p>
          <a:p>
            <a:pPr lvl="1" algn="l">
              <a:lnSpc>
                <a:spcPct val="120000"/>
              </a:lnSpc>
            </a:pPr>
            <a:r>
              <a:rPr lang="en-US" altLang="zh-CN" sz="1800" dirty="0" smtClean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NTP: 2019.12 (Expected)</a:t>
            </a:r>
          </a:p>
          <a:p>
            <a:pPr lvl="1" algn="l">
              <a:lnSpc>
                <a:spcPct val="120000"/>
              </a:lnSpc>
            </a:pPr>
            <a:r>
              <a:rPr lang="en-US" altLang="zh-CN" sz="1800" dirty="0" smtClean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Unit 1: NTP+52 months</a:t>
            </a:r>
          </a:p>
          <a:p>
            <a:pPr lvl="1" algn="l">
              <a:lnSpc>
                <a:spcPct val="120000"/>
              </a:lnSpc>
            </a:pPr>
            <a:r>
              <a:rPr lang="en-US" altLang="zh-CN" dirty="0" smtClean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Unit 2: NTP+58 months</a:t>
            </a:r>
          </a:p>
          <a:p>
            <a:pPr lvl="1" algn="l">
              <a:lnSpc>
                <a:spcPct val="120000"/>
              </a:lnSpc>
            </a:pPr>
            <a:r>
              <a:rPr lang="en-US" altLang="zh-CN" sz="1800" dirty="0" smtClean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Unit 3: NTP+64 months</a:t>
            </a:r>
          </a:p>
          <a:p>
            <a:pPr lvl="1" algn="l">
              <a:lnSpc>
                <a:spcPct val="120000"/>
              </a:lnSpc>
            </a:pPr>
            <a:r>
              <a:rPr lang="en-US" altLang="zh-CN" dirty="0" smtClean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Unit 4: NTP+70 months</a:t>
            </a:r>
          </a:p>
          <a:p>
            <a:pPr lvl="1" algn="l">
              <a:lnSpc>
                <a:spcPct val="120000"/>
              </a:lnSpc>
            </a:pPr>
            <a:r>
              <a:rPr lang="en-US" altLang="zh-CN" sz="1800" dirty="0" smtClean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Unit 5: NTP+76 months</a:t>
            </a:r>
          </a:p>
          <a:p>
            <a:pPr lvl="1" algn="l">
              <a:lnSpc>
                <a:spcPct val="120000"/>
              </a:lnSpc>
            </a:pPr>
            <a:r>
              <a:rPr lang="en-US" altLang="zh-CN" dirty="0" smtClean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Unit 6: NTP+82 months</a:t>
            </a:r>
            <a:endParaRPr lang="en-US" altLang="zh-CN" sz="1800" dirty="0">
              <a:solidFill>
                <a:schemeClr val="bg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  <a:p>
            <a:pPr marL="291551" indent="-291551">
              <a:lnSpc>
                <a:spcPct val="120000"/>
              </a:lnSpc>
              <a:buFont typeface="Wingdings" pitchFamily="2" charset="2"/>
              <a:buChar char="l"/>
              <a:defRPr/>
            </a:pPr>
            <a:r>
              <a:rPr lang="en-US" altLang="zh-CN" sz="1837" b="1" dirty="0">
                <a:solidFill>
                  <a:schemeClr val="bg1"/>
                </a:solidFill>
                <a:latin typeface="Segoe UI Light" panose="020B0502040204020203" pitchFamily="34" charset="0"/>
              </a:rPr>
              <a:t>Location: </a:t>
            </a:r>
          </a:p>
          <a:p>
            <a:pPr lvl="1" algn="l">
              <a:lnSpc>
                <a:spcPct val="120000"/>
              </a:lnSpc>
            </a:pPr>
            <a:r>
              <a:rPr lang="en-US" altLang="zh-CN" sz="1800" dirty="0" smtClean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Red sea governorate, Egypt</a:t>
            </a:r>
          </a:p>
        </p:txBody>
      </p:sp>
      <p:sp>
        <p:nvSpPr>
          <p:cNvPr id="10" name="矩形 9"/>
          <p:cNvSpPr/>
          <p:nvPr/>
        </p:nvSpPr>
        <p:spPr>
          <a:xfrm>
            <a:off x="7131000" y="1854000"/>
            <a:ext cx="4095000" cy="424732"/>
          </a:xfrm>
          <a:prstGeom prst="rect">
            <a:avLst/>
          </a:prstGeom>
          <a:solidFill>
            <a:srgbClr val="194CA1">
              <a:alpha val="63922"/>
            </a:srgbClr>
          </a:solidFill>
          <a:ln w="25400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</a:pPr>
            <a:r>
              <a:rPr lang="en-US" altLang="zh-CN" b="1" dirty="0" smtClean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Biggest coal fired power plant in history</a:t>
            </a:r>
            <a:endParaRPr lang="zh-CN" altLang="en-US" b="1" dirty="0">
              <a:solidFill>
                <a:schemeClr val="bg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9" name="Rectangle 2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-195280" y="554648"/>
            <a:ext cx="6728160" cy="54263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defPPr>
              <a:defRPr lang="zh-CN"/>
            </a:defPPr>
            <a:lvl1pPr algn="ctr" defTabSz="896112" fontAlgn="auto">
              <a:spcBef>
                <a:spcPct val="0"/>
              </a:spcBef>
              <a:spcAft>
                <a:spcPts val="0"/>
              </a:spcAft>
              <a:buNone/>
              <a:defRPr sz="2800" b="1">
                <a:solidFill>
                  <a:srgbClr val="0070C0"/>
                </a:solidFill>
                <a:latin typeface="+mj-lt"/>
                <a:ea typeface="宋体" pitchFamily="2" charset="-122"/>
                <a:cs typeface="+mj-cs"/>
              </a:defRPr>
            </a:lvl1pPr>
          </a:lstStyle>
          <a:p>
            <a:r>
              <a:rPr lang="en-US" altLang="zh-CN" dirty="0" smtClean="0">
                <a:latin typeface="Segoe UI Light" panose="020B0502040204020203" pitchFamily="34" charset="0"/>
              </a:rPr>
              <a:t>Project </a:t>
            </a:r>
            <a:r>
              <a:rPr lang="en-US" altLang="zh-CN" dirty="0">
                <a:latin typeface="Segoe UI Light" panose="020B0502040204020203" pitchFamily="34" charset="0"/>
              </a:rPr>
              <a:t>Case</a:t>
            </a:r>
            <a:r>
              <a:rPr lang="en-US" altLang="zh-CN" dirty="0" smtClean="0">
                <a:latin typeface="Segoe UI Light" panose="020B0502040204020203" pitchFamily="34" charset="0"/>
              </a:rPr>
              <a:t>: Cooperation in Egypt</a:t>
            </a:r>
            <a:endParaRPr lang="en-US" altLang="zh-CN" dirty="0">
              <a:latin typeface="Segoe UI Light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340037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538310"/>
            <a:ext cx="12192000" cy="5330338"/>
          </a:xfrm>
          <a:prstGeom prst="rect">
            <a:avLst/>
          </a:prstGeom>
        </p:spPr>
      </p:pic>
      <p:cxnSp>
        <p:nvCxnSpPr>
          <p:cNvPr id="5" name="直接连接符 36"/>
          <p:cNvCxnSpPr>
            <a:cxnSpLocks noChangeShapeType="1"/>
          </p:cNvCxnSpPr>
          <p:nvPr/>
        </p:nvCxnSpPr>
        <p:spPr bwMode="auto">
          <a:xfrm>
            <a:off x="-309979" y="1544213"/>
            <a:ext cx="13050000" cy="0"/>
          </a:xfrm>
          <a:prstGeom prst="line">
            <a:avLst/>
          </a:prstGeom>
          <a:noFill/>
          <a:ln w="9525" algn="ctr">
            <a:solidFill>
              <a:srgbClr val="8BCC34"/>
            </a:solidFill>
            <a:round/>
            <a:headEnd/>
            <a:tailEnd/>
          </a:ln>
        </p:spPr>
      </p:cxnSp>
      <p:sp>
        <p:nvSpPr>
          <p:cNvPr id="3" name="矩形 2"/>
          <p:cNvSpPr/>
          <p:nvPr/>
        </p:nvSpPr>
        <p:spPr>
          <a:xfrm>
            <a:off x="966000" y="1538310"/>
            <a:ext cx="6054158" cy="393890"/>
          </a:xfrm>
          <a:prstGeom prst="rect">
            <a:avLst/>
          </a:prstGeom>
          <a:solidFill>
            <a:srgbClr val="6CC13C"/>
          </a:solidFill>
          <a:ln w="25400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>
            <a:spAutoFit/>
          </a:bodyPr>
          <a:lstStyle/>
          <a:p>
            <a:pPr>
              <a:lnSpc>
                <a:spcPct val="120000"/>
              </a:lnSpc>
            </a:pPr>
            <a:r>
              <a:rPr lang="en-US" altLang="zh-CN" b="1" dirty="0" smtClean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Dubai CSP Power Plant Phase IV</a:t>
            </a:r>
            <a:endParaRPr lang="zh-CN" altLang="en-US" b="1" dirty="0">
              <a:solidFill>
                <a:schemeClr val="bg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8" name="TextBox 11"/>
          <p:cNvSpPr txBox="1">
            <a:spLocks noChangeArrowheads="1"/>
          </p:cNvSpPr>
          <p:nvPr/>
        </p:nvSpPr>
        <p:spPr bwMode="auto">
          <a:xfrm>
            <a:off x="8616000" y="1677771"/>
            <a:ext cx="3429000" cy="3443763"/>
          </a:xfrm>
          <a:prstGeom prst="rect">
            <a:avLst/>
          </a:prstGeom>
          <a:solidFill>
            <a:srgbClr val="194CA1">
              <a:alpha val="63922"/>
            </a:srgbClr>
          </a:solidFill>
          <a:ln w="25400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>
            <a:spAutoFit/>
          </a:bodyPr>
          <a:lstStyle/>
          <a:p>
            <a:pPr marL="291551" indent="-291551">
              <a:lnSpc>
                <a:spcPct val="120000"/>
              </a:lnSpc>
              <a:buFont typeface="Wingdings" pitchFamily="2" charset="2"/>
              <a:buChar char="l"/>
              <a:defRPr/>
            </a:pPr>
            <a:r>
              <a:rPr lang="en-US" altLang="zh-CN" sz="1837" b="1" dirty="0">
                <a:solidFill>
                  <a:schemeClr val="bg1"/>
                </a:solidFill>
                <a:latin typeface="Segoe UI Light" panose="020B0502040204020203" pitchFamily="34" charset="0"/>
              </a:rPr>
              <a:t>Client:</a:t>
            </a:r>
          </a:p>
          <a:p>
            <a:pPr lvl="1" algn="l">
              <a:lnSpc>
                <a:spcPct val="120000"/>
              </a:lnSpc>
            </a:pPr>
            <a:r>
              <a:rPr lang="en-US" altLang="zh-CN" sz="1800" dirty="0" smtClean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Dubai Electricity and Water Authority (DEWA)</a:t>
            </a:r>
          </a:p>
          <a:p>
            <a:pPr lvl="1" algn="l">
              <a:lnSpc>
                <a:spcPct val="120000"/>
              </a:lnSpc>
            </a:pPr>
            <a:r>
              <a:rPr lang="en-US" altLang="zh-CN" dirty="0" smtClean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CWA Power</a:t>
            </a:r>
            <a:endParaRPr lang="en-US" altLang="zh-CN" sz="1800" dirty="0" smtClean="0">
              <a:solidFill>
                <a:schemeClr val="bg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  <a:p>
            <a:pPr marL="291551" indent="-291551">
              <a:lnSpc>
                <a:spcPct val="120000"/>
              </a:lnSpc>
              <a:buFont typeface="Wingdings" pitchFamily="2" charset="2"/>
              <a:buChar char="l"/>
              <a:defRPr/>
            </a:pPr>
            <a:r>
              <a:rPr lang="en-US" altLang="zh-CN" sz="1837" b="1" dirty="0" smtClean="0">
                <a:solidFill>
                  <a:schemeClr val="bg1"/>
                </a:solidFill>
                <a:latin typeface="Segoe UI Light" panose="020B0502040204020203" pitchFamily="34" charset="0"/>
              </a:rPr>
              <a:t>Capacity &amp; Fuel:</a:t>
            </a:r>
          </a:p>
          <a:p>
            <a:pPr lvl="1" algn="l">
              <a:lnSpc>
                <a:spcPct val="120000"/>
              </a:lnSpc>
            </a:pPr>
            <a:r>
              <a:rPr lang="en-US" altLang="zh-CN" sz="1800" dirty="0" smtClean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700MW CSP + 133MW PV</a:t>
            </a:r>
          </a:p>
          <a:p>
            <a:pPr marL="291551" indent="-291551">
              <a:lnSpc>
                <a:spcPct val="120000"/>
              </a:lnSpc>
              <a:buFont typeface="Wingdings" pitchFamily="2" charset="2"/>
              <a:buChar char="l"/>
              <a:defRPr/>
            </a:pPr>
            <a:r>
              <a:rPr lang="en-US" altLang="zh-CN" sz="1837" b="1" dirty="0">
                <a:solidFill>
                  <a:schemeClr val="bg1"/>
                </a:solidFill>
                <a:latin typeface="Segoe UI Light" panose="020B0502040204020203" pitchFamily="34" charset="0"/>
              </a:rPr>
              <a:t> </a:t>
            </a:r>
            <a:r>
              <a:rPr lang="en-US" altLang="zh-CN" sz="1837" b="1" dirty="0" smtClean="0">
                <a:solidFill>
                  <a:schemeClr val="bg1"/>
                </a:solidFill>
                <a:latin typeface="Segoe UI Light" panose="020B0502040204020203" pitchFamily="34" charset="0"/>
              </a:rPr>
              <a:t>Estimated COD</a:t>
            </a:r>
            <a:r>
              <a:rPr lang="en-US" altLang="zh-CN" sz="1837" b="1" dirty="0">
                <a:solidFill>
                  <a:schemeClr val="bg1"/>
                </a:solidFill>
                <a:latin typeface="Segoe UI Light" panose="020B0502040204020203" pitchFamily="34" charset="0"/>
              </a:rPr>
              <a:t>:</a:t>
            </a:r>
          </a:p>
          <a:p>
            <a:pPr lvl="1" algn="l">
              <a:lnSpc>
                <a:spcPct val="120000"/>
              </a:lnSpc>
            </a:pPr>
            <a:r>
              <a:rPr lang="en-US" altLang="zh-CN" sz="1800" dirty="0" smtClean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Unit 1 April 2020</a:t>
            </a:r>
            <a:endParaRPr lang="en-US" altLang="zh-CN" sz="1800" dirty="0">
              <a:solidFill>
                <a:schemeClr val="bg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  <a:p>
            <a:pPr marL="291551" indent="-291551">
              <a:lnSpc>
                <a:spcPct val="120000"/>
              </a:lnSpc>
              <a:buFont typeface="Wingdings" pitchFamily="2" charset="2"/>
              <a:buChar char="l"/>
              <a:defRPr/>
            </a:pPr>
            <a:r>
              <a:rPr lang="en-US" altLang="zh-CN" sz="1837" b="1" dirty="0">
                <a:solidFill>
                  <a:schemeClr val="bg1"/>
                </a:solidFill>
                <a:latin typeface="Segoe UI Light" panose="020B0502040204020203" pitchFamily="34" charset="0"/>
              </a:rPr>
              <a:t>Location: </a:t>
            </a:r>
          </a:p>
          <a:p>
            <a:pPr lvl="1" algn="l">
              <a:lnSpc>
                <a:spcPct val="120000"/>
              </a:lnSpc>
            </a:pPr>
            <a:r>
              <a:rPr lang="en-US" altLang="zh-CN" sz="1800" dirty="0" smtClean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Dubai, UAE</a:t>
            </a:r>
          </a:p>
        </p:txBody>
      </p:sp>
      <p:sp>
        <p:nvSpPr>
          <p:cNvPr id="7" name="Rectangle 2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-159275" y="554648"/>
            <a:ext cx="8304708" cy="54263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defPPr>
              <a:defRPr lang="zh-CN"/>
            </a:defPPr>
            <a:lvl1pPr algn="ctr" defTabSz="896112" fontAlgn="auto">
              <a:spcBef>
                <a:spcPct val="0"/>
              </a:spcBef>
              <a:spcAft>
                <a:spcPts val="0"/>
              </a:spcAft>
              <a:buNone/>
              <a:defRPr sz="2800" b="1">
                <a:solidFill>
                  <a:srgbClr val="0070C0"/>
                </a:solidFill>
                <a:latin typeface="+mj-lt"/>
                <a:ea typeface="宋体" pitchFamily="2" charset="-122"/>
                <a:cs typeface="+mj-cs"/>
              </a:defRPr>
            </a:lvl1pPr>
          </a:lstStyle>
          <a:p>
            <a:r>
              <a:rPr lang="en-US" altLang="zh-CN" dirty="0" smtClean="0">
                <a:latin typeface="Segoe UI Light" panose="020B0502040204020203" pitchFamily="34" charset="0"/>
              </a:rPr>
              <a:t>Project </a:t>
            </a:r>
            <a:r>
              <a:rPr lang="en-US" altLang="zh-CN" dirty="0">
                <a:latin typeface="Segoe UI Light" panose="020B0502040204020203" pitchFamily="34" charset="0"/>
              </a:rPr>
              <a:t>Case</a:t>
            </a:r>
            <a:r>
              <a:rPr lang="en-US" altLang="zh-CN" dirty="0" smtClean="0">
                <a:latin typeface="Segoe UI Light" panose="020B0502040204020203" pitchFamily="34" charset="0"/>
              </a:rPr>
              <a:t>: Concentrated Solar Power (CSP)</a:t>
            </a:r>
            <a:endParaRPr lang="en-US" altLang="zh-CN" dirty="0">
              <a:latin typeface="Segoe UI Light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313357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直接连接符 36"/>
          <p:cNvCxnSpPr>
            <a:cxnSpLocks noChangeShapeType="1"/>
          </p:cNvCxnSpPr>
          <p:nvPr/>
        </p:nvCxnSpPr>
        <p:spPr bwMode="auto">
          <a:xfrm>
            <a:off x="-337260" y="1571573"/>
            <a:ext cx="13050000" cy="0"/>
          </a:xfrm>
          <a:prstGeom prst="line">
            <a:avLst/>
          </a:prstGeom>
          <a:noFill/>
          <a:ln w="9525" algn="ctr">
            <a:solidFill>
              <a:srgbClr val="8BCC34"/>
            </a:solidFill>
            <a:round/>
            <a:headEnd/>
            <a:tailEnd/>
          </a:ln>
        </p:spPr>
      </p:cxnSp>
      <p:sp>
        <p:nvSpPr>
          <p:cNvPr id="21" name="Rectangle 2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848857" y="1646096"/>
            <a:ext cx="8233703" cy="37004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defPPr>
              <a:defRPr lang="zh-CN"/>
            </a:defPPr>
            <a:lvl1pPr algn="ctr" defTabSz="896112" fontAlgn="auto">
              <a:spcBef>
                <a:spcPct val="0"/>
              </a:spcBef>
              <a:spcAft>
                <a:spcPts val="0"/>
              </a:spcAft>
              <a:buNone/>
              <a:defRPr sz="2800" b="1">
                <a:solidFill>
                  <a:srgbClr val="0070C0"/>
                </a:solidFill>
                <a:latin typeface="+mj-lt"/>
                <a:ea typeface="宋体" pitchFamily="2" charset="-122"/>
                <a:cs typeface="+mj-cs"/>
              </a:defRPr>
            </a:lvl1pPr>
          </a:lstStyle>
          <a:p>
            <a:pPr marL="342900" indent="-342900" algn="l">
              <a:buFont typeface="Wingdings" panose="05000000000000000000" pitchFamily="2" charset="2"/>
              <a:buChar char="Ø"/>
            </a:pPr>
            <a:r>
              <a:rPr lang="en-US" altLang="zh-CN" sz="2400" dirty="0" smtClean="0">
                <a:solidFill>
                  <a:srgbClr val="0984B9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Light" panose="020B0502040204020203" pitchFamily="34" charset="0"/>
              </a:rPr>
              <a:t>Seawater Desalination</a:t>
            </a:r>
          </a:p>
        </p:txBody>
      </p:sp>
      <p:grpSp>
        <p:nvGrpSpPr>
          <p:cNvPr id="18" name="组合 17"/>
          <p:cNvGrpSpPr/>
          <p:nvPr/>
        </p:nvGrpSpPr>
        <p:grpSpPr>
          <a:xfrm>
            <a:off x="4395704" y="1741688"/>
            <a:ext cx="7505295" cy="4747311"/>
            <a:chOff x="489904" y="2010567"/>
            <a:chExt cx="10169205" cy="4860732"/>
          </a:xfrm>
        </p:grpSpPr>
        <p:pic>
          <p:nvPicPr>
            <p:cNvPr id="119" name="图片 118" descr="Datteln_Ansicht_Rohgasseite"/>
            <p:cNvPicPr>
              <a:picLocks noChangeAspect="1" noChangeArrowheads="1"/>
            </p:cNvPicPr>
            <p:nvPr/>
          </p:nvPicPr>
          <p:blipFill>
            <a:blip r:embed="rId7"/>
            <a:srcRect/>
            <a:stretch/>
          </p:blipFill>
          <p:spPr bwMode="auto">
            <a:xfrm>
              <a:off x="1774741" y="2010567"/>
              <a:ext cx="1361150" cy="100475"/>
            </a:xfrm>
            <a:custGeom>
              <a:avLst/>
              <a:gdLst>
                <a:gd name="connsiteX0" fmla="*/ 671921 w 1361150"/>
                <a:gd name="connsiteY0" fmla="*/ 0 h 100475"/>
                <a:gd name="connsiteX1" fmla="*/ 806832 w 1361150"/>
                <a:gd name="connsiteY1" fmla="*/ 14990 h 100475"/>
                <a:gd name="connsiteX2" fmla="*/ 941744 w 1361150"/>
                <a:gd name="connsiteY2" fmla="*/ 44970 h 100475"/>
                <a:gd name="connsiteX3" fmla="*/ 986714 w 1361150"/>
                <a:gd name="connsiteY3" fmla="*/ 59960 h 100475"/>
                <a:gd name="connsiteX4" fmla="*/ 1316498 w 1361150"/>
                <a:gd name="connsiteY4" fmla="*/ 89941 h 100475"/>
                <a:gd name="connsiteX5" fmla="*/ 1346677 w 1361150"/>
                <a:gd name="connsiteY5" fmla="*/ 96262 h 100475"/>
                <a:gd name="connsiteX6" fmla="*/ 1361150 w 1361150"/>
                <a:gd name="connsiteY6" fmla="*/ 100475 h 100475"/>
                <a:gd name="connsiteX7" fmla="*/ 0 w 1361150"/>
                <a:gd name="connsiteY7" fmla="*/ 100475 h 100475"/>
                <a:gd name="connsiteX8" fmla="*/ 5888 w 1361150"/>
                <a:gd name="connsiteY8" fmla="*/ 98940 h 100475"/>
                <a:gd name="connsiteX9" fmla="*/ 42334 w 1361150"/>
                <a:gd name="connsiteY9" fmla="*/ 89941 h 100475"/>
                <a:gd name="connsiteX10" fmla="*/ 192235 w 1361150"/>
                <a:gd name="connsiteY10" fmla="*/ 44970 h 100475"/>
                <a:gd name="connsiteX11" fmla="*/ 671921 w 1361150"/>
                <a:gd name="connsiteY11" fmla="*/ 0 h 100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361150" h="100475">
                  <a:moveTo>
                    <a:pt x="671921" y="0"/>
                  </a:moveTo>
                  <a:cubicBezTo>
                    <a:pt x="716891" y="4997"/>
                    <a:pt x="762040" y="8591"/>
                    <a:pt x="806832" y="14990"/>
                  </a:cubicBezTo>
                  <a:cubicBezTo>
                    <a:pt x="837743" y="19406"/>
                    <a:pt x="909012" y="35618"/>
                    <a:pt x="941744" y="44970"/>
                  </a:cubicBezTo>
                  <a:cubicBezTo>
                    <a:pt x="956937" y="49311"/>
                    <a:pt x="971724" y="54963"/>
                    <a:pt x="986714" y="59960"/>
                  </a:cubicBezTo>
                  <a:lnTo>
                    <a:pt x="1316498" y="89941"/>
                  </a:lnTo>
                  <a:cubicBezTo>
                    <a:pt x="1326757" y="90873"/>
                    <a:pt x="1336750" y="93372"/>
                    <a:pt x="1346677" y="96262"/>
                  </a:cubicBezTo>
                  <a:lnTo>
                    <a:pt x="1361150" y="100475"/>
                  </a:lnTo>
                  <a:lnTo>
                    <a:pt x="0" y="100475"/>
                  </a:lnTo>
                  <a:lnTo>
                    <a:pt x="5888" y="98940"/>
                  </a:lnTo>
                  <a:cubicBezTo>
                    <a:pt x="19108" y="95646"/>
                    <a:pt x="31575" y="92631"/>
                    <a:pt x="42334" y="89941"/>
                  </a:cubicBezTo>
                  <a:cubicBezTo>
                    <a:pt x="78513" y="80896"/>
                    <a:pt x="149406" y="49729"/>
                    <a:pt x="192235" y="44970"/>
                  </a:cubicBezTo>
                  <a:lnTo>
                    <a:pt x="671921" y="0"/>
                  </a:lnTo>
                  <a:close/>
                </a:path>
              </a:pathLst>
            </a:custGeom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16" name="图片 115" descr="Datteln_Ansicht_Rohgasseite"/>
            <p:cNvPicPr>
              <a:picLocks noChangeAspect="1" noChangeArrowheads="1"/>
            </p:cNvPicPr>
            <p:nvPr/>
          </p:nvPicPr>
          <p:blipFill>
            <a:blip r:embed="rId7"/>
            <a:srcRect/>
            <a:stretch/>
          </p:blipFill>
          <p:spPr bwMode="auto">
            <a:xfrm>
              <a:off x="1005772" y="2556095"/>
              <a:ext cx="604" cy="2339"/>
            </a:xfrm>
            <a:custGeom>
              <a:avLst/>
              <a:gdLst>
                <a:gd name="connsiteX0" fmla="*/ 604 w 604"/>
                <a:gd name="connsiteY0" fmla="*/ 0 h 2339"/>
                <a:gd name="connsiteX1" fmla="*/ 211 w 604"/>
                <a:gd name="connsiteY1" fmla="*/ 1716 h 2339"/>
                <a:gd name="connsiteX2" fmla="*/ 564 w 604"/>
                <a:gd name="connsiteY2" fmla="*/ 132 h 2339"/>
                <a:gd name="connsiteX3" fmla="*/ 604 w 604"/>
                <a:gd name="connsiteY3" fmla="*/ 0 h 23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04" h="2339">
                  <a:moveTo>
                    <a:pt x="604" y="0"/>
                  </a:moveTo>
                  <a:lnTo>
                    <a:pt x="211" y="1716"/>
                  </a:lnTo>
                  <a:cubicBezTo>
                    <a:pt x="-101" y="2788"/>
                    <a:pt x="-128" y="2612"/>
                    <a:pt x="564" y="132"/>
                  </a:cubicBezTo>
                  <a:lnTo>
                    <a:pt x="604" y="0"/>
                  </a:lnTo>
                  <a:close/>
                </a:path>
              </a:pathLst>
            </a:custGeom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15" name="图片 114" descr="Datteln_Ansicht_Rohgasseite"/>
            <p:cNvPicPr>
              <a:picLocks noChangeAspect="1" noChangeArrowheads="1"/>
            </p:cNvPicPr>
            <p:nvPr/>
          </p:nvPicPr>
          <p:blipFill>
            <a:blip r:embed="rId7"/>
            <a:srcRect/>
            <a:stretch/>
          </p:blipFill>
          <p:spPr bwMode="auto">
            <a:xfrm>
              <a:off x="511096" y="2909242"/>
              <a:ext cx="293101" cy="1461326"/>
            </a:xfrm>
            <a:custGeom>
              <a:avLst/>
              <a:gdLst>
                <a:gd name="connsiteX0" fmla="*/ 293101 w 293101"/>
                <a:gd name="connsiteY0" fmla="*/ 0 h 1461326"/>
                <a:gd name="connsiteX1" fmla="*/ 293101 w 293101"/>
                <a:gd name="connsiteY1" fmla="*/ 1461326 h 1461326"/>
                <a:gd name="connsiteX2" fmla="*/ 286649 w 293101"/>
                <a:gd name="connsiteY2" fmla="*/ 1454779 h 1461326"/>
                <a:gd name="connsiteX3" fmla="*/ 241678 w 293101"/>
                <a:gd name="connsiteY3" fmla="*/ 1439789 h 1461326"/>
                <a:gd name="connsiteX4" fmla="*/ 151737 w 293101"/>
                <a:gd name="connsiteY4" fmla="*/ 1379829 h 1461326"/>
                <a:gd name="connsiteX5" fmla="*/ 76786 w 293101"/>
                <a:gd name="connsiteY5" fmla="*/ 1289888 h 1461326"/>
                <a:gd name="connsiteX6" fmla="*/ 61796 w 293101"/>
                <a:gd name="connsiteY6" fmla="*/ 1244917 h 1461326"/>
                <a:gd name="connsiteX7" fmla="*/ 31816 w 293101"/>
                <a:gd name="connsiteY7" fmla="*/ 1184956 h 1461326"/>
                <a:gd name="connsiteX8" fmla="*/ 16826 w 293101"/>
                <a:gd name="connsiteY8" fmla="*/ 555369 h 1461326"/>
                <a:gd name="connsiteX9" fmla="*/ 46806 w 293101"/>
                <a:gd name="connsiteY9" fmla="*/ 435448 h 1461326"/>
                <a:gd name="connsiteX10" fmla="*/ 61796 w 293101"/>
                <a:gd name="connsiteY10" fmla="*/ 360497 h 1461326"/>
                <a:gd name="connsiteX11" fmla="*/ 121757 w 293101"/>
                <a:gd name="connsiteY11" fmla="*/ 270556 h 1461326"/>
                <a:gd name="connsiteX12" fmla="*/ 166727 w 293101"/>
                <a:gd name="connsiteY12" fmla="*/ 165625 h 1461326"/>
                <a:gd name="connsiteX13" fmla="*/ 226688 w 293101"/>
                <a:gd name="connsiteY13" fmla="*/ 75684 h 1461326"/>
                <a:gd name="connsiteX14" fmla="*/ 281135 w 293101"/>
                <a:gd name="connsiteY14" fmla="*/ 7173 h 1461326"/>
                <a:gd name="connsiteX15" fmla="*/ 293101 w 293101"/>
                <a:gd name="connsiteY15" fmla="*/ 0 h 14613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93101" h="1461326">
                  <a:moveTo>
                    <a:pt x="293101" y="0"/>
                  </a:moveTo>
                  <a:lnTo>
                    <a:pt x="293101" y="1461326"/>
                  </a:lnTo>
                  <a:lnTo>
                    <a:pt x="286649" y="1454779"/>
                  </a:lnTo>
                  <a:lnTo>
                    <a:pt x="241678" y="1439789"/>
                  </a:lnTo>
                  <a:cubicBezTo>
                    <a:pt x="207495" y="1428395"/>
                    <a:pt x="180179" y="1401950"/>
                    <a:pt x="151737" y="1379829"/>
                  </a:cubicBezTo>
                  <a:cubicBezTo>
                    <a:pt x="124616" y="1358735"/>
                    <a:pt x="92532" y="1321379"/>
                    <a:pt x="76786" y="1289888"/>
                  </a:cubicBezTo>
                  <a:cubicBezTo>
                    <a:pt x="69719" y="1275755"/>
                    <a:pt x="68020" y="1259441"/>
                    <a:pt x="61796" y="1244917"/>
                  </a:cubicBezTo>
                  <a:cubicBezTo>
                    <a:pt x="52994" y="1224378"/>
                    <a:pt x="34588" y="1207130"/>
                    <a:pt x="31816" y="1184956"/>
                  </a:cubicBezTo>
                  <a:cubicBezTo>
                    <a:pt x="-12701" y="828821"/>
                    <a:pt x="-3389" y="838368"/>
                    <a:pt x="16826" y="555369"/>
                  </a:cubicBezTo>
                  <a:cubicBezTo>
                    <a:pt x="16826" y="555369"/>
                    <a:pt x="37541" y="475597"/>
                    <a:pt x="46806" y="435448"/>
                  </a:cubicBezTo>
                  <a:cubicBezTo>
                    <a:pt x="52535" y="410622"/>
                    <a:pt x="56799" y="385481"/>
                    <a:pt x="61796" y="360497"/>
                  </a:cubicBezTo>
                  <a:cubicBezTo>
                    <a:pt x="61796" y="360497"/>
                    <a:pt x="103219" y="301453"/>
                    <a:pt x="121757" y="270556"/>
                  </a:cubicBezTo>
                  <a:cubicBezTo>
                    <a:pt x="149542" y="224248"/>
                    <a:pt x="151220" y="212148"/>
                    <a:pt x="166727" y="165625"/>
                  </a:cubicBezTo>
                  <a:lnTo>
                    <a:pt x="226688" y="75684"/>
                  </a:lnTo>
                  <a:cubicBezTo>
                    <a:pt x="253250" y="35842"/>
                    <a:pt x="270183" y="16394"/>
                    <a:pt x="281135" y="7173"/>
                  </a:cubicBezTo>
                  <a:lnTo>
                    <a:pt x="293101" y="0"/>
                  </a:lnTo>
                  <a:close/>
                </a:path>
              </a:pathLst>
            </a:custGeom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14" name="图片 113" descr="Datteln_Ansicht_Rohgasseite"/>
            <p:cNvPicPr>
              <a:picLocks noChangeAspect="1" noChangeArrowheads="1"/>
            </p:cNvPicPr>
            <p:nvPr/>
          </p:nvPicPr>
          <p:blipFill>
            <a:blip r:embed="rId7"/>
            <a:srcRect/>
            <a:stretch/>
          </p:blipFill>
          <p:spPr bwMode="auto">
            <a:xfrm>
              <a:off x="5114800" y="3262132"/>
              <a:ext cx="509776" cy="1791492"/>
            </a:xfrm>
            <a:custGeom>
              <a:avLst/>
              <a:gdLst>
                <a:gd name="connsiteX0" fmla="*/ 0 w 509776"/>
                <a:gd name="connsiteY0" fmla="*/ 0 h 1791492"/>
                <a:gd name="connsiteX1" fmla="*/ 9847 w 509776"/>
                <a:gd name="connsiteY1" fmla="*/ 2434 h 1791492"/>
                <a:gd name="connsiteX2" fmla="*/ 120032 w 509776"/>
                <a:gd name="connsiteY2" fmla="*/ 37588 h 1791492"/>
                <a:gd name="connsiteX3" fmla="*/ 224963 w 509776"/>
                <a:gd name="connsiteY3" fmla="*/ 97548 h 1791492"/>
                <a:gd name="connsiteX4" fmla="*/ 284924 w 509776"/>
                <a:gd name="connsiteY4" fmla="*/ 127529 h 1791492"/>
                <a:gd name="connsiteX5" fmla="*/ 389855 w 509776"/>
                <a:gd name="connsiteY5" fmla="*/ 217470 h 1791492"/>
                <a:gd name="connsiteX6" fmla="*/ 434826 w 509776"/>
                <a:gd name="connsiteY6" fmla="*/ 277430 h 1791492"/>
                <a:gd name="connsiteX7" fmla="*/ 449816 w 509776"/>
                <a:gd name="connsiteY7" fmla="*/ 322401 h 1791492"/>
                <a:gd name="connsiteX8" fmla="*/ 479796 w 509776"/>
                <a:gd name="connsiteY8" fmla="*/ 367371 h 1791492"/>
                <a:gd name="connsiteX9" fmla="*/ 509776 w 509776"/>
                <a:gd name="connsiteY9" fmla="*/ 547253 h 1791492"/>
                <a:gd name="connsiteX10" fmla="*/ 494786 w 509776"/>
                <a:gd name="connsiteY10" fmla="*/ 592224 h 1791492"/>
                <a:gd name="connsiteX11" fmla="*/ 464806 w 509776"/>
                <a:gd name="connsiteY11" fmla="*/ 742125 h 1791492"/>
                <a:gd name="connsiteX12" fmla="*/ 449816 w 509776"/>
                <a:gd name="connsiteY12" fmla="*/ 787096 h 1791492"/>
                <a:gd name="connsiteX13" fmla="*/ 404845 w 509776"/>
                <a:gd name="connsiteY13" fmla="*/ 981968 h 1791492"/>
                <a:gd name="connsiteX14" fmla="*/ 344885 w 509776"/>
                <a:gd name="connsiteY14" fmla="*/ 1191830 h 1791492"/>
                <a:gd name="connsiteX15" fmla="*/ 284924 w 509776"/>
                <a:gd name="connsiteY15" fmla="*/ 1281771 h 1791492"/>
                <a:gd name="connsiteX16" fmla="*/ 269934 w 509776"/>
                <a:gd name="connsiteY16" fmla="*/ 1356722 h 1791492"/>
                <a:gd name="connsiteX17" fmla="*/ 239953 w 509776"/>
                <a:gd name="connsiteY17" fmla="*/ 1431673 h 1791492"/>
                <a:gd name="connsiteX18" fmla="*/ 209973 w 509776"/>
                <a:gd name="connsiteY18" fmla="*/ 1491634 h 1791492"/>
                <a:gd name="connsiteX19" fmla="*/ 179993 w 509776"/>
                <a:gd name="connsiteY19" fmla="*/ 1581575 h 1791492"/>
                <a:gd name="connsiteX20" fmla="*/ 135022 w 509776"/>
                <a:gd name="connsiteY20" fmla="*/ 1641535 h 1791492"/>
                <a:gd name="connsiteX21" fmla="*/ 105042 w 509776"/>
                <a:gd name="connsiteY21" fmla="*/ 1671516 h 1791492"/>
                <a:gd name="connsiteX22" fmla="*/ 111 w 509776"/>
                <a:gd name="connsiteY22" fmla="*/ 1791437 h 1791492"/>
                <a:gd name="connsiteX23" fmla="*/ 0 w 509776"/>
                <a:gd name="connsiteY23" fmla="*/ 1791492 h 1791492"/>
                <a:gd name="connsiteX24" fmla="*/ 0 w 509776"/>
                <a:gd name="connsiteY24" fmla="*/ 0 h 1791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509776" h="1791492">
                  <a:moveTo>
                    <a:pt x="0" y="0"/>
                  </a:moveTo>
                  <a:lnTo>
                    <a:pt x="9847" y="2434"/>
                  </a:lnTo>
                  <a:cubicBezTo>
                    <a:pt x="46032" y="11450"/>
                    <a:pt x="74408" y="19338"/>
                    <a:pt x="120032" y="37588"/>
                  </a:cubicBezTo>
                  <a:cubicBezTo>
                    <a:pt x="195533" y="67788"/>
                    <a:pt x="161863" y="61490"/>
                    <a:pt x="224963" y="97548"/>
                  </a:cubicBezTo>
                  <a:cubicBezTo>
                    <a:pt x="244365" y="108635"/>
                    <a:pt x="265522" y="116442"/>
                    <a:pt x="284924" y="127529"/>
                  </a:cubicBezTo>
                  <a:cubicBezTo>
                    <a:pt x="330415" y="153524"/>
                    <a:pt x="353238" y="175622"/>
                    <a:pt x="389855" y="217470"/>
                  </a:cubicBezTo>
                  <a:cubicBezTo>
                    <a:pt x="406307" y="236272"/>
                    <a:pt x="422431" y="255738"/>
                    <a:pt x="434826" y="277430"/>
                  </a:cubicBezTo>
                  <a:cubicBezTo>
                    <a:pt x="442666" y="291149"/>
                    <a:pt x="442750" y="308268"/>
                    <a:pt x="449816" y="322401"/>
                  </a:cubicBezTo>
                  <a:cubicBezTo>
                    <a:pt x="457873" y="338515"/>
                    <a:pt x="475154" y="349964"/>
                    <a:pt x="479796" y="367371"/>
                  </a:cubicBezTo>
                  <a:cubicBezTo>
                    <a:pt x="495459" y="426106"/>
                    <a:pt x="499783" y="487292"/>
                    <a:pt x="509776" y="547253"/>
                  </a:cubicBezTo>
                  <a:cubicBezTo>
                    <a:pt x="504779" y="562243"/>
                    <a:pt x="498214" y="576799"/>
                    <a:pt x="494786" y="592224"/>
                  </a:cubicBezTo>
                  <a:cubicBezTo>
                    <a:pt x="465338" y="724741"/>
                    <a:pt x="494672" y="637594"/>
                    <a:pt x="464806" y="742125"/>
                  </a:cubicBezTo>
                  <a:cubicBezTo>
                    <a:pt x="460465" y="757318"/>
                    <a:pt x="454813" y="772106"/>
                    <a:pt x="449816" y="787096"/>
                  </a:cubicBezTo>
                  <a:cubicBezTo>
                    <a:pt x="431733" y="841347"/>
                    <a:pt x="416738" y="922504"/>
                    <a:pt x="404845" y="981968"/>
                  </a:cubicBezTo>
                  <a:cubicBezTo>
                    <a:pt x="390577" y="1053308"/>
                    <a:pt x="364872" y="1121876"/>
                    <a:pt x="344885" y="1191830"/>
                  </a:cubicBezTo>
                  <a:cubicBezTo>
                    <a:pt x="344885" y="1191830"/>
                    <a:pt x="299834" y="1248969"/>
                    <a:pt x="284924" y="1281771"/>
                  </a:cubicBezTo>
                  <a:cubicBezTo>
                    <a:pt x="274381" y="1304966"/>
                    <a:pt x="274931" y="1331738"/>
                    <a:pt x="269934" y="1356722"/>
                  </a:cubicBezTo>
                  <a:cubicBezTo>
                    <a:pt x="259940" y="1381706"/>
                    <a:pt x="250882" y="1407084"/>
                    <a:pt x="239953" y="1431673"/>
                  </a:cubicBezTo>
                  <a:cubicBezTo>
                    <a:pt x="230877" y="1452093"/>
                    <a:pt x="218272" y="1470886"/>
                    <a:pt x="209973" y="1491634"/>
                  </a:cubicBezTo>
                  <a:cubicBezTo>
                    <a:pt x="198236" y="1520976"/>
                    <a:pt x="189986" y="1551595"/>
                    <a:pt x="179993" y="1581575"/>
                  </a:cubicBezTo>
                  <a:cubicBezTo>
                    <a:pt x="165003" y="1601562"/>
                    <a:pt x="151016" y="1622342"/>
                    <a:pt x="135022" y="1641535"/>
                  </a:cubicBezTo>
                  <a:cubicBezTo>
                    <a:pt x="125974" y="1652392"/>
                    <a:pt x="114090" y="1660659"/>
                    <a:pt x="105042" y="1671516"/>
                  </a:cubicBezTo>
                  <a:cubicBezTo>
                    <a:pt x="1829" y="1795372"/>
                    <a:pt x="124443" y="1667103"/>
                    <a:pt x="111" y="1791437"/>
                  </a:cubicBezTo>
                  <a:lnTo>
                    <a:pt x="0" y="1791492"/>
                  </a:lnTo>
                  <a:lnTo>
                    <a:pt x="0" y="0"/>
                  </a:lnTo>
                  <a:close/>
                </a:path>
              </a:pathLst>
            </a:custGeom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8" name="TextBox 13"/>
            <p:cNvSpPr txBox="1">
              <a:spLocks noChangeArrowheads="1"/>
            </p:cNvSpPr>
            <p:nvPr/>
          </p:nvSpPr>
          <p:spPr bwMode="auto">
            <a:xfrm>
              <a:off x="1887765" y="5476915"/>
              <a:ext cx="461665" cy="139438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eaVert" wrap="square">
              <a:spAutoFit/>
            </a:bodyPr>
            <a:lstStyle>
              <a:lvl1pPr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900" b="1" dirty="0" smtClean="0">
                  <a:solidFill>
                    <a:schemeClr val="bg1"/>
                  </a:solidFill>
                  <a:ea typeface="微软雅黑" panose="020B0503020204020204" pitchFamily="34" charset="-122"/>
                  <a:cs typeface="Arial" panose="020B0604020202020204" pitchFamily="34" charset="0"/>
                </a:rPr>
                <a:t>Boiler Make-up </a:t>
              </a:r>
              <a:r>
                <a:rPr lang="en-US" altLang="zh-CN" sz="900" b="1" dirty="0" smtClean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Water</a:t>
              </a:r>
              <a:r>
                <a:rPr lang="zh-CN" altLang="en-US" sz="900" b="1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/>
              </a:r>
              <a:br>
                <a:rPr lang="zh-CN" altLang="en-US" sz="900" b="1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</a:br>
              <a:endParaRPr lang="zh-CN" altLang="en-US" sz="9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grpSp>
          <p:nvGrpSpPr>
            <p:cNvPr id="29" name="组合 228"/>
            <p:cNvGrpSpPr/>
            <p:nvPr/>
          </p:nvGrpSpPr>
          <p:grpSpPr>
            <a:xfrm>
              <a:off x="489904" y="2694755"/>
              <a:ext cx="10169205" cy="4136086"/>
              <a:chOff x="140602" y="2242834"/>
              <a:chExt cx="8977305" cy="3651307"/>
            </a:xfrm>
          </p:grpSpPr>
          <p:sp>
            <p:nvSpPr>
              <p:cNvPr id="30" name="文本框 29"/>
              <p:cNvSpPr txBox="1"/>
              <p:nvPr/>
            </p:nvSpPr>
            <p:spPr>
              <a:xfrm>
                <a:off x="7052102" y="2803940"/>
                <a:ext cx="1835683" cy="361653"/>
              </a:xfrm>
              <a:prstGeom prst="rect">
                <a:avLst/>
              </a:prstGeom>
              <a:solidFill>
                <a:srgbClr val="2EAD41"/>
              </a:solidFill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CN" sz="1000" dirty="0" err="1">
                    <a:solidFill>
                      <a:schemeClr val="bg1"/>
                    </a:solidFill>
                    <a:latin typeface="Segoe UI Light" panose="020B0502040204020203" pitchFamily="34" charset="0"/>
                    <a:ea typeface="Segoe UI" panose="020B0502040204020203" pitchFamily="34" charset="0"/>
                    <a:cs typeface="Segoe UI" panose="020B0502040204020203" pitchFamily="34" charset="0"/>
                  </a:rPr>
                  <a:t>Huanghua</a:t>
                </a:r>
                <a:r>
                  <a:rPr lang="zh-CN" altLang="en-US" sz="1000" dirty="0">
                    <a:solidFill>
                      <a:schemeClr val="bg1"/>
                    </a:solidFill>
                    <a:latin typeface="Segoe UI Light" panose="020B0502040204020203" pitchFamily="34" charset="0"/>
                    <a:ea typeface="Segoe UI" panose="020B0502040204020203" pitchFamily="34" charset="0"/>
                    <a:cs typeface="Segoe UI" panose="020B0502040204020203" pitchFamily="34" charset="0"/>
                  </a:rPr>
                  <a:t> Ⅱ</a:t>
                </a:r>
                <a:r>
                  <a:rPr lang="en-US" altLang="zh-CN" sz="1000" dirty="0">
                    <a:solidFill>
                      <a:schemeClr val="bg1"/>
                    </a:solidFill>
                    <a:latin typeface="Segoe UI Light" panose="020B0502040204020203" pitchFamily="34" charset="0"/>
                    <a:ea typeface="Segoe UI" panose="020B0502040204020203" pitchFamily="34" charset="0"/>
                    <a:cs typeface="Segoe UI" panose="020B0502040204020203" pitchFamily="34" charset="0"/>
                  </a:rPr>
                  <a:t>,</a:t>
                </a:r>
                <a:r>
                  <a:rPr lang="zh-CN" altLang="en-US" sz="1000" dirty="0">
                    <a:solidFill>
                      <a:schemeClr val="bg1"/>
                    </a:solidFill>
                    <a:latin typeface="Segoe UI Light" panose="020B0502040204020203" pitchFamily="34" charset="0"/>
                    <a:ea typeface="Segoe UI" panose="020B0502040204020203" pitchFamily="34" charset="0"/>
                    <a:cs typeface="Segoe UI" panose="020B0502040204020203" pitchFamily="34" charset="0"/>
                  </a:rPr>
                  <a:t> </a:t>
                </a:r>
                <a:r>
                  <a:rPr lang="en-US" altLang="zh-CN" sz="1000" dirty="0">
                    <a:solidFill>
                      <a:schemeClr val="bg1"/>
                    </a:solidFill>
                    <a:latin typeface="Segoe UI Light" panose="020B0502040204020203" pitchFamily="34" charset="0"/>
                    <a:ea typeface="Segoe UI" panose="020B0502040204020203" pitchFamily="34" charset="0"/>
                    <a:cs typeface="Segoe UI" panose="020B0502040204020203" pitchFamily="34" charset="0"/>
                  </a:rPr>
                  <a:t>Hebei</a:t>
                </a:r>
              </a:p>
              <a:p>
                <a:pPr algn="ctr"/>
                <a:r>
                  <a:rPr lang="zh-CN" altLang="en-US" sz="1000" dirty="0">
                    <a:solidFill>
                      <a:schemeClr val="bg1"/>
                    </a:solidFill>
                    <a:latin typeface="Segoe UI Light" panose="020B0502040204020203" pitchFamily="34" charset="0"/>
                    <a:ea typeface="Segoe UI" panose="020B0502040204020203" pitchFamily="34" charset="0"/>
                    <a:cs typeface="Segoe UI" panose="020B0502040204020203" pitchFamily="34" charset="0"/>
                  </a:rPr>
                  <a:t> </a:t>
                </a:r>
                <a:r>
                  <a:rPr lang="en-US" altLang="zh-CN" sz="1000" dirty="0">
                    <a:solidFill>
                      <a:schemeClr val="bg1"/>
                    </a:solidFill>
                    <a:latin typeface="Segoe UI Light" panose="020B0502040204020203" pitchFamily="34" charset="0"/>
                    <a:ea typeface="Segoe UI" panose="020B0502040204020203" pitchFamily="34" charset="0"/>
                    <a:cs typeface="Segoe UI" panose="020B0502040204020203" pitchFamily="34" charset="0"/>
                  </a:rPr>
                  <a:t>MED- 12500 t/d</a:t>
                </a:r>
                <a:endParaRPr lang="zh-CN" altLang="en-US" sz="1000" dirty="0">
                  <a:solidFill>
                    <a:schemeClr val="bg1"/>
                  </a:solidFill>
                  <a:latin typeface="Segoe UI Light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grpSp>
            <p:nvGrpSpPr>
              <p:cNvPr id="36" name="Group 3"/>
              <p:cNvGrpSpPr>
                <a:grpSpLocks/>
              </p:cNvGrpSpPr>
              <p:nvPr/>
            </p:nvGrpSpPr>
            <p:grpSpPr bwMode="auto">
              <a:xfrm>
                <a:off x="2257426" y="2919650"/>
                <a:ext cx="4588669" cy="2257425"/>
                <a:chOff x="664" y="1951"/>
                <a:chExt cx="4308" cy="2120"/>
              </a:xfrm>
            </p:grpSpPr>
            <p:sp>
              <p:nvSpPr>
                <p:cNvPr id="89" name="Freeform 4"/>
                <p:cNvSpPr>
                  <a:spLocks/>
                </p:cNvSpPr>
                <p:nvPr/>
              </p:nvSpPr>
              <p:spPr bwMode="blackWhite">
                <a:xfrm>
                  <a:off x="743" y="2045"/>
                  <a:ext cx="1265" cy="1938"/>
                </a:xfrm>
                <a:custGeom>
                  <a:avLst/>
                  <a:gdLst/>
                  <a:ahLst/>
                  <a:cxnLst>
                    <a:cxn ang="0">
                      <a:pos x="116" y="258"/>
                    </a:cxn>
                    <a:cxn ang="0">
                      <a:pos x="320" y="210"/>
                    </a:cxn>
                    <a:cxn ang="0">
                      <a:pos x="434" y="240"/>
                    </a:cxn>
                    <a:cxn ang="0">
                      <a:pos x="416" y="444"/>
                    </a:cxn>
                    <a:cxn ang="0">
                      <a:pos x="272" y="582"/>
                    </a:cxn>
                    <a:cxn ang="0">
                      <a:pos x="218" y="714"/>
                    </a:cxn>
                    <a:cxn ang="0">
                      <a:pos x="284" y="964"/>
                    </a:cxn>
                    <a:cxn ang="0">
                      <a:pos x="316" y="960"/>
                    </a:cxn>
                    <a:cxn ang="0">
                      <a:pos x="328" y="906"/>
                    </a:cxn>
                    <a:cxn ang="0">
                      <a:pos x="478" y="1154"/>
                    </a:cxn>
                    <a:cxn ang="0">
                      <a:pos x="650" y="1200"/>
                    </a:cxn>
                    <a:cxn ang="0">
                      <a:pos x="794" y="1350"/>
                    </a:cxn>
                    <a:cxn ang="0">
                      <a:pos x="854" y="1422"/>
                    </a:cxn>
                    <a:cxn ang="0">
                      <a:pos x="770" y="1608"/>
                    </a:cxn>
                    <a:cxn ang="0">
                      <a:pos x="916" y="1782"/>
                    </a:cxn>
                    <a:cxn ang="0">
                      <a:pos x="1034" y="2022"/>
                    </a:cxn>
                    <a:cxn ang="0">
                      <a:pos x="1094" y="2310"/>
                    </a:cxn>
                    <a:cxn ang="0">
                      <a:pos x="1194" y="2540"/>
                    </a:cxn>
                    <a:cxn ang="0">
                      <a:pos x="1280" y="2520"/>
                    </a:cxn>
                    <a:cxn ang="0">
                      <a:pos x="1244" y="2394"/>
                    </a:cxn>
                    <a:cxn ang="0">
                      <a:pos x="1288" y="2306"/>
                    </a:cxn>
                    <a:cxn ang="0">
                      <a:pos x="1368" y="2228"/>
                    </a:cxn>
                    <a:cxn ang="0">
                      <a:pos x="1448" y="2076"/>
                    </a:cxn>
                    <a:cxn ang="0">
                      <a:pos x="1568" y="1950"/>
                    </a:cxn>
                    <a:cxn ang="0">
                      <a:pos x="1622" y="1746"/>
                    </a:cxn>
                    <a:cxn ang="0">
                      <a:pos x="1552" y="1538"/>
                    </a:cxn>
                    <a:cxn ang="0">
                      <a:pos x="1376" y="1410"/>
                    </a:cxn>
                    <a:cxn ang="0">
                      <a:pos x="1104" y="1280"/>
                    </a:cxn>
                    <a:cxn ang="0">
                      <a:pos x="974" y="1260"/>
                    </a:cxn>
                    <a:cxn ang="0">
                      <a:pos x="904" y="1268"/>
                    </a:cxn>
                    <a:cxn ang="0">
                      <a:pos x="794" y="1308"/>
                    </a:cxn>
                    <a:cxn ang="0">
                      <a:pos x="758" y="1174"/>
                    </a:cxn>
                    <a:cxn ang="0">
                      <a:pos x="736" y="1062"/>
                    </a:cxn>
                    <a:cxn ang="0">
                      <a:pos x="632" y="1104"/>
                    </a:cxn>
                    <a:cxn ang="0">
                      <a:pos x="568" y="950"/>
                    </a:cxn>
                    <a:cxn ang="0">
                      <a:pos x="740" y="912"/>
                    </a:cxn>
                    <a:cxn ang="0">
                      <a:pos x="842" y="906"/>
                    </a:cxn>
                    <a:cxn ang="0">
                      <a:pos x="896" y="900"/>
                    </a:cxn>
                    <a:cxn ang="0">
                      <a:pos x="1058" y="750"/>
                    </a:cxn>
                    <a:cxn ang="0">
                      <a:pos x="1184" y="678"/>
                    </a:cxn>
                    <a:cxn ang="0">
                      <a:pos x="1278" y="636"/>
                    </a:cxn>
                    <a:cxn ang="0">
                      <a:pos x="1340" y="538"/>
                    </a:cxn>
                    <a:cxn ang="0">
                      <a:pos x="1288" y="512"/>
                    </a:cxn>
                    <a:cxn ang="0">
                      <a:pos x="1526" y="456"/>
                    </a:cxn>
                    <a:cxn ang="0">
                      <a:pos x="1406" y="342"/>
                    </a:cxn>
                    <a:cxn ang="0">
                      <a:pos x="1328" y="264"/>
                    </a:cxn>
                    <a:cxn ang="0">
                      <a:pos x="1222" y="364"/>
                    </a:cxn>
                    <a:cxn ang="0">
                      <a:pos x="1110" y="444"/>
                    </a:cxn>
                    <a:cxn ang="0">
                      <a:pos x="1022" y="304"/>
                    </a:cxn>
                    <a:cxn ang="0">
                      <a:pos x="1212" y="240"/>
                    </a:cxn>
                    <a:cxn ang="0">
                      <a:pos x="1266" y="198"/>
                    </a:cxn>
                    <a:cxn ang="0">
                      <a:pos x="1328" y="172"/>
                    </a:cxn>
                    <a:cxn ang="0">
                      <a:pos x="1286" y="144"/>
                    </a:cxn>
                    <a:cxn ang="0">
                      <a:pos x="1262" y="120"/>
                    </a:cxn>
                    <a:cxn ang="0">
                      <a:pos x="1202" y="102"/>
                    </a:cxn>
                    <a:cxn ang="0">
                      <a:pos x="1106" y="136"/>
                    </a:cxn>
                    <a:cxn ang="0">
                      <a:pos x="950" y="120"/>
                    </a:cxn>
                    <a:cxn ang="0">
                      <a:pos x="550" y="0"/>
                    </a:cxn>
                    <a:cxn ang="0">
                      <a:pos x="344" y="32"/>
                    </a:cxn>
                    <a:cxn ang="0">
                      <a:pos x="290" y="102"/>
                    </a:cxn>
                    <a:cxn ang="0">
                      <a:pos x="128" y="174"/>
                    </a:cxn>
                    <a:cxn ang="0">
                      <a:pos x="128" y="216"/>
                    </a:cxn>
                    <a:cxn ang="0">
                      <a:pos x="2" y="252"/>
                    </a:cxn>
                  </a:cxnLst>
                  <a:rect l="0" t="0" r="r" b="b"/>
                  <a:pathLst>
                    <a:path w="1692" h="2586">
                      <a:moveTo>
                        <a:pt x="2" y="252"/>
                      </a:moveTo>
                      <a:lnTo>
                        <a:pt x="68" y="264"/>
                      </a:lnTo>
                      <a:lnTo>
                        <a:pt x="116" y="258"/>
                      </a:lnTo>
                      <a:lnTo>
                        <a:pt x="188" y="216"/>
                      </a:lnTo>
                      <a:lnTo>
                        <a:pt x="236" y="210"/>
                      </a:lnTo>
                      <a:lnTo>
                        <a:pt x="320" y="210"/>
                      </a:lnTo>
                      <a:lnTo>
                        <a:pt x="368" y="216"/>
                      </a:lnTo>
                      <a:lnTo>
                        <a:pt x="398" y="246"/>
                      </a:lnTo>
                      <a:lnTo>
                        <a:pt x="434" y="240"/>
                      </a:lnTo>
                      <a:lnTo>
                        <a:pt x="422" y="294"/>
                      </a:lnTo>
                      <a:lnTo>
                        <a:pt x="404" y="354"/>
                      </a:lnTo>
                      <a:lnTo>
                        <a:pt x="416" y="444"/>
                      </a:lnTo>
                      <a:lnTo>
                        <a:pt x="408" y="480"/>
                      </a:lnTo>
                      <a:lnTo>
                        <a:pt x="380" y="474"/>
                      </a:lnTo>
                      <a:lnTo>
                        <a:pt x="272" y="582"/>
                      </a:lnTo>
                      <a:lnTo>
                        <a:pt x="236" y="628"/>
                      </a:lnTo>
                      <a:lnTo>
                        <a:pt x="242" y="672"/>
                      </a:lnTo>
                      <a:lnTo>
                        <a:pt x="218" y="714"/>
                      </a:lnTo>
                      <a:lnTo>
                        <a:pt x="268" y="774"/>
                      </a:lnTo>
                      <a:lnTo>
                        <a:pt x="262" y="844"/>
                      </a:lnTo>
                      <a:lnTo>
                        <a:pt x="284" y="964"/>
                      </a:lnTo>
                      <a:lnTo>
                        <a:pt x="320" y="1010"/>
                      </a:lnTo>
                      <a:lnTo>
                        <a:pt x="324" y="970"/>
                      </a:lnTo>
                      <a:lnTo>
                        <a:pt x="316" y="960"/>
                      </a:lnTo>
                      <a:lnTo>
                        <a:pt x="302" y="834"/>
                      </a:lnTo>
                      <a:lnTo>
                        <a:pt x="326" y="830"/>
                      </a:lnTo>
                      <a:lnTo>
                        <a:pt x="328" y="906"/>
                      </a:lnTo>
                      <a:lnTo>
                        <a:pt x="380" y="996"/>
                      </a:lnTo>
                      <a:lnTo>
                        <a:pt x="368" y="1074"/>
                      </a:lnTo>
                      <a:lnTo>
                        <a:pt x="478" y="1154"/>
                      </a:lnTo>
                      <a:lnTo>
                        <a:pt x="564" y="1164"/>
                      </a:lnTo>
                      <a:lnTo>
                        <a:pt x="612" y="1208"/>
                      </a:lnTo>
                      <a:lnTo>
                        <a:pt x="650" y="1200"/>
                      </a:lnTo>
                      <a:lnTo>
                        <a:pt x="680" y="1224"/>
                      </a:lnTo>
                      <a:lnTo>
                        <a:pt x="698" y="1272"/>
                      </a:lnTo>
                      <a:lnTo>
                        <a:pt x="794" y="1350"/>
                      </a:lnTo>
                      <a:lnTo>
                        <a:pt x="842" y="1308"/>
                      </a:lnTo>
                      <a:lnTo>
                        <a:pt x="848" y="1350"/>
                      </a:lnTo>
                      <a:lnTo>
                        <a:pt x="854" y="1422"/>
                      </a:lnTo>
                      <a:lnTo>
                        <a:pt x="786" y="1490"/>
                      </a:lnTo>
                      <a:lnTo>
                        <a:pt x="788" y="1542"/>
                      </a:lnTo>
                      <a:lnTo>
                        <a:pt x="770" y="1608"/>
                      </a:lnTo>
                      <a:lnTo>
                        <a:pt x="802" y="1634"/>
                      </a:lnTo>
                      <a:lnTo>
                        <a:pt x="848" y="1668"/>
                      </a:lnTo>
                      <a:lnTo>
                        <a:pt x="916" y="1782"/>
                      </a:lnTo>
                      <a:lnTo>
                        <a:pt x="956" y="1800"/>
                      </a:lnTo>
                      <a:lnTo>
                        <a:pt x="1010" y="1848"/>
                      </a:lnTo>
                      <a:lnTo>
                        <a:pt x="1034" y="2022"/>
                      </a:lnTo>
                      <a:lnTo>
                        <a:pt x="1058" y="2178"/>
                      </a:lnTo>
                      <a:lnTo>
                        <a:pt x="1046" y="2244"/>
                      </a:lnTo>
                      <a:lnTo>
                        <a:pt x="1094" y="2310"/>
                      </a:lnTo>
                      <a:lnTo>
                        <a:pt x="1118" y="2364"/>
                      </a:lnTo>
                      <a:lnTo>
                        <a:pt x="1138" y="2458"/>
                      </a:lnTo>
                      <a:lnTo>
                        <a:pt x="1194" y="2540"/>
                      </a:lnTo>
                      <a:lnTo>
                        <a:pt x="1286" y="2586"/>
                      </a:lnTo>
                      <a:lnTo>
                        <a:pt x="1382" y="2574"/>
                      </a:lnTo>
                      <a:lnTo>
                        <a:pt x="1280" y="2520"/>
                      </a:lnTo>
                      <a:lnTo>
                        <a:pt x="1266" y="2472"/>
                      </a:lnTo>
                      <a:lnTo>
                        <a:pt x="1288" y="2428"/>
                      </a:lnTo>
                      <a:lnTo>
                        <a:pt x="1244" y="2394"/>
                      </a:lnTo>
                      <a:lnTo>
                        <a:pt x="1284" y="2334"/>
                      </a:lnTo>
                      <a:lnTo>
                        <a:pt x="1244" y="2300"/>
                      </a:lnTo>
                      <a:lnTo>
                        <a:pt x="1288" y="2306"/>
                      </a:lnTo>
                      <a:lnTo>
                        <a:pt x="1286" y="2244"/>
                      </a:lnTo>
                      <a:lnTo>
                        <a:pt x="1330" y="2268"/>
                      </a:lnTo>
                      <a:lnTo>
                        <a:pt x="1368" y="2228"/>
                      </a:lnTo>
                      <a:lnTo>
                        <a:pt x="1334" y="2160"/>
                      </a:lnTo>
                      <a:lnTo>
                        <a:pt x="1382" y="2184"/>
                      </a:lnTo>
                      <a:lnTo>
                        <a:pt x="1448" y="2076"/>
                      </a:lnTo>
                      <a:lnTo>
                        <a:pt x="1468" y="2052"/>
                      </a:lnTo>
                      <a:lnTo>
                        <a:pt x="1476" y="1982"/>
                      </a:lnTo>
                      <a:lnTo>
                        <a:pt x="1568" y="1950"/>
                      </a:lnTo>
                      <a:lnTo>
                        <a:pt x="1612" y="1880"/>
                      </a:lnTo>
                      <a:lnTo>
                        <a:pt x="1628" y="1830"/>
                      </a:lnTo>
                      <a:lnTo>
                        <a:pt x="1622" y="1746"/>
                      </a:lnTo>
                      <a:lnTo>
                        <a:pt x="1692" y="1644"/>
                      </a:lnTo>
                      <a:lnTo>
                        <a:pt x="1652" y="1578"/>
                      </a:lnTo>
                      <a:lnTo>
                        <a:pt x="1552" y="1538"/>
                      </a:lnTo>
                      <a:lnTo>
                        <a:pt x="1448" y="1500"/>
                      </a:lnTo>
                      <a:lnTo>
                        <a:pt x="1376" y="1494"/>
                      </a:lnTo>
                      <a:lnTo>
                        <a:pt x="1376" y="1410"/>
                      </a:lnTo>
                      <a:lnTo>
                        <a:pt x="1262" y="1356"/>
                      </a:lnTo>
                      <a:lnTo>
                        <a:pt x="1166" y="1272"/>
                      </a:lnTo>
                      <a:lnTo>
                        <a:pt x="1104" y="1280"/>
                      </a:lnTo>
                      <a:lnTo>
                        <a:pt x="1048" y="1276"/>
                      </a:lnTo>
                      <a:lnTo>
                        <a:pt x="1020" y="1244"/>
                      </a:lnTo>
                      <a:lnTo>
                        <a:pt x="974" y="1260"/>
                      </a:lnTo>
                      <a:lnTo>
                        <a:pt x="984" y="1238"/>
                      </a:lnTo>
                      <a:lnTo>
                        <a:pt x="934" y="1268"/>
                      </a:lnTo>
                      <a:lnTo>
                        <a:pt x="904" y="1268"/>
                      </a:lnTo>
                      <a:lnTo>
                        <a:pt x="872" y="1314"/>
                      </a:lnTo>
                      <a:lnTo>
                        <a:pt x="836" y="1272"/>
                      </a:lnTo>
                      <a:lnTo>
                        <a:pt x="794" y="1308"/>
                      </a:lnTo>
                      <a:lnTo>
                        <a:pt x="748" y="1278"/>
                      </a:lnTo>
                      <a:lnTo>
                        <a:pt x="758" y="1242"/>
                      </a:lnTo>
                      <a:lnTo>
                        <a:pt x="758" y="1174"/>
                      </a:lnTo>
                      <a:lnTo>
                        <a:pt x="698" y="1176"/>
                      </a:lnTo>
                      <a:lnTo>
                        <a:pt x="668" y="1140"/>
                      </a:lnTo>
                      <a:lnTo>
                        <a:pt x="736" y="1062"/>
                      </a:lnTo>
                      <a:lnTo>
                        <a:pt x="712" y="1050"/>
                      </a:lnTo>
                      <a:lnTo>
                        <a:pt x="658" y="1062"/>
                      </a:lnTo>
                      <a:lnTo>
                        <a:pt x="632" y="1104"/>
                      </a:lnTo>
                      <a:lnTo>
                        <a:pt x="596" y="1110"/>
                      </a:lnTo>
                      <a:lnTo>
                        <a:pt x="538" y="1066"/>
                      </a:lnTo>
                      <a:lnTo>
                        <a:pt x="568" y="950"/>
                      </a:lnTo>
                      <a:lnTo>
                        <a:pt x="632" y="894"/>
                      </a:lnTo>
                      <a:lnTo>
                        <a:pt x="686" y="894"/>
                      </a:lnTo>
                      <a:lnTo>
                        <a:pt x="740" y="912"/>
                      </a:lnTo>
                      <a:lnTo>
                        <a:pt x="736" y="900"/>
                      </a:lnTo>
                      <a:lnTo>
                        <a:pt x="766" y="868"/>
                      </a:lnTo>
                      <a:lnTo>
                        <a:pt x="842" y="906"/>
                      </a:lnTo>
                      <a:lnTo>
                        <a:pt x="848" y="966"/>
                      </a:lnTo>
                      <a:lnTo>
                        <a:pt x="884" y="984"/>
                      </a:lnTo>
                      <a:lnTo>
                        <a:pt x="896" y="900"/>
                      </a:lnTo>
                      <a:lnTo>
                        <a:pt x="878" y="858"/>
                      </a:lnTo>
                      <a:lnTo>
                        <a:pt x="998" y="806"/>
                      </a:lnTo>
                      <a:lnTo>
                        <a:pt x="1058" y="750"/>
                      </a:lnTo>
                      <a:lnTo>
                        <a:pt x="1100" y="696"/>
                      </a:lnTo>
                      <a:lnTo>
                        <a:pt x="1130" y="672"/>
                      </a:lnTo>
                      <a:lnTo>
                        <a:pt x="1184" y="678"/>
                      </a:lnTo>
                      <a:lnTo>
                        <a:pt x="1190" y="636"/>
                      </a:lnTo>
                      <a:lnTo>
                        <a:pt x="1280" y="588"/>
                      </a:lnTo>
                      <a:lnTo>
                        <a:pt x="1278" y="636"/>
                      </a:lnTo>
                      <a:lnTo>
                        <a:pt x="1360" y="602"/>
                      </a:lnTo>
                      <a:lnTo>
                        <a:pt x="1322" y="570"/>
                      </a:lnTo>
                      <a:lnTo>
                        <a:pt x="1340" y="538"/>
                      </a:lnTo>
                      <a:lnTo>
                        <a:pt x="1320" y="522"/>
                      </a:lnTo>
                      <a:lnTo>
                        <a:pt x="1286" y="546"/>
                      </a:lnTo>
                      <a:lnTo>
                        <a:pt x="1288" y="512"/>
                      </a:lnTo>
                      <a:lnTo>
                        <a:pt x="1400" y="504"/>
                      </a:lnTo>
                      <a:lnTo>
                        <a:pt x="1490" y="480"/>
                      </a:lnTo>
                      <a:lnTo>
                        <a:pt x="1526" y="456"/>
                      </a:lnTo>
                      <a:lnTo>
                        <a:pt x="1484" y="394"/>
                      </a:lnTo>
                      <a:cubicBezTo>
                        <a:pt x="1474" y="370"/>
                        <a:pt x="1479" y="319"/>
                        <a:pt x="1466" y="310"/>
                      </a:cubicBezTo>
                      <a:cubicBezTo>
                        <a:pt x="1456" y="300"/>
                        <a:pt x="1423" y="343"/>
                        <a:pt x="1406" y="342"/>
                      </a:cubicBezTo>
                      <a:lnTo>
                        <a:pt x="1376" y="312"/>
                      </a:lnTo>
                      <a:lnTo>
                        <a:pt x="1376" y="270"/>
                      </a:lnTo>
                      <a:lnTo>
                        <a:pt x="1328" y="264"/>
                      </a:lnTo>
                      <a:lnTo>
                        <a:pt x="1312" y="252"/>
                      </a:lnTo>
                      <a:lnTo>
                        <a:pt x="1256" y="314"/>
                      </a:lnTo>
                      <a:lnTo>
                        <a:pt x="1222" y="364"/>
                      </a:lnTo>
                      <a:lnTo>
                        <a:pt x="1172" y="402"/>
                      </a:lnTo>
                      <a:lnTo>
                        <a:pt x="1136" y="474"/>
                      </a:lnTo>
                      <a:lnTo>
                        <a:pt x="1110" y="444"/>
                      </a:lnTo>
                      <a:lnTo>
                        <a:pt x="1128" y="394"/>
                      </a:lnTo>
                      <a:lnTo>
                        <a:pt x="1038" y="334"/>
                      </a:lnTo>
                      <a:lnTo>
                        <a:pt x="1022" y="304"/>
                      </a:lnTo>
                      <a:lnTo>
                        <a:pt x="1122" y="226"/>
                      </a:lnTo>
                      <a:lnTo>
                        <a:pt x="1184" y="222"/>
                      </a:lnTo>
                      <a:lnTo>
                        <a:pt x="1212" y="240"/>
                      </a:lnTo>
                      <a:lnTo>
                        <a:pt x="1248" y="220"/>
                      </a:lnTo>
                      <a:lnTo>
                        <a:pt x="1300" y="220"/>
                      </a:lnTo>
                      <a:lnTo>
                        <a:pt x="1266" y="198"/>
                      </a:lnTo>
                      <a:lnTo>
                        <a:pt x="1208" y="196"/>
                      </a:lnTo>
                      <a:lnTo>
                        <a:pt x="1250" y="174"/>
                      </a:lnTo>
                      <a:lnTo>
                        <a:pt x="1328" y="172"/>
                      </a:lnTo>
                      <a:lnTo>
                        <a:pt x="1364" y="132"/>
                      </a:lnTo>
                      <a:cubicBezTo>
                        <a:pt x="1346" y="124"/>
                        <a:pt x="1343" y="119"/>
                        <a:pt x="1324" y="122"/>
                      </a:cubicBezTo>
                      <a:cubicBezTo>
                        <a:pt x="1310" y="124"/>
                        <a:pt x="1294" y="132"/>
                        <a:pt x="1286" y="144"/>
                      </a:cubicBezTo>
                      <a:cubicBezTo>
                        <a:pt x="1282" y="149"/>
                        <a:pt x="1274" y="148"/>
                        <a:pt x="1268" y="150"/>
                      </a:cubicBezTo>
                      <a:cubicBezTo>
                        <a:pt x="1266" y="144"/>
                        <a:pt x="1259" y="138"/>
                        <a:pt x="1262" y="132"/>
                      </a:cubicBezTo>
                      <a:cubicBezTo>
                        <a:pt x="1269" y="118"/>
                        <a:pt x="1303" y="134"/>
                        <a:pt x="1262" y="120"/>
                      </a:cubicBezTo>
                      <a:cubicBezTo>
                        <a:pt x="1221" y="134"/>
                        <a:pt x="1252" y="105"/>
                        <a:pt x="1262" y="90"/>
                      </a:cubicBezTo>
                      <a:cubicBezTo>
                        <a:pt x="1260" y="84"/>
                        <a:pt x="1262" y="75"/>
                        <a:pt x="1256" y="72"/>
                      </a:cubicBezTo>
                      <a:cubicBezTo>
                        <a:pt x="1238" y="63"/>
                        <a:pt x="1202" y="102"/>
                        <a:pt x="1202" y="102"/>
                      </a:cubicBezTo>
                      <a:cubicBezTo>
                        <a:pt x="1198" y="108"/>
                        <a:pt x="1186" y="140"/>
                        <a:pt x="1180" y="144"/>
                      </a:cubicBezTo>
                      <a:cubicBezTo>
                        <a:pt x="1169" y="151"/>
                        <a:pt x="1148" y="122"/>
                        <a:pt x="1148" y="122"/>
                      </a:cubicBezTo>
                      <a:cubicBezTo>
                        <a:pt x="1138" y="123"/>
                        <a:pt x="1121" y="137"/>
                        <a:pt x="1106" y="136"/>
                      </a:cubicBezTo>
                      <a:cubicBezTo>
                        <a:pt x="1091" y="135"/>
                        <a:pt x="1074" y="117"/>
                        <a:pt x="1056" y="116"/>
                      </a:cubicBezTo>
                      <a:cubicBezTo>
                        <a:pt x="1038" y="115"/>
                        <a:pt x="1016" y="131"/>
                        <a:pt x="998" y="132"/>
                      </a:cubicBezTo>
                      <a:cubicBezTo>
                        <a:pt x="997" y="132"/>
                        <a:pt x="956" y="125"/>
                        <a:pt x="950" y="120"/>
                      </a:cubicBezTo>
                      <a:cubicBezTo>
                        <a:pt x="918" y="94"/>
                        <a:pt x="960" y="108"/>
                        <a:pt x="920" y="90"/>
                      </a:cubicBezTo>
                      <a:cubicBezTo>
                        <a:pt x="852" y="60"/>
                        <a:pt x="806" y="58"/>
                        <a:pt x="730" y="54"/>
                      </a:cubicBezTo>
                      <a:cubicBezTo>
                        <a:pt x="656" y="39"/>
                        <a:pt x="625" y="15"/>
                        <a:pt x="550" y="0"/>
                      </a:cubicBezTo>
                      <a:cubicBezTo>
                        <a:pt x="510" y="2"/>
                        <a:pt x="486" y="5"/>
                        <a:pt x="446" y="8"/>
                      </a:cubicBezTo>
                      <a:cubicBezTo>
                        <a:pt x="424" y="9"/>
                        <a:pt x="423" y="14"/>
                        <a:pt x="406" y="18"/>
                      </a:cubicBezTo>
                      <a:cubicBezTo>
                        <a:pt x="389" y="22"/>
                        <a:pt x="353" y="24"/>
                        <a:pt x="344" y="32"/>
                      </a:cubicBezTo>
                      <a:cubicBezTo>
                        <a:pt x="346" y="38"/>
                        <a:pt x="354" y="60"/>
                        <a:pt x="350" y="64"/>
                      </a:cubicBezTo>
                      <a:cubicBezTo>
                        <a:pt x="274" y="50"/>
                        <a:pt x="250" y="81"/>
                        <a:pt x="236" y="82"/>
                      </a:cubicBezTo>
                      <a:cubicBezTo>
                        <a:pt x="278" y="110"/>
                        <a:pt x="270" y="72"/>
                        <a:pt x="290" y="102"/>
                      </a:cubicBezTo>
                      <a:cubicBezTo>
                        <a:pt x="234" y="121"/>
                        <a:pt x="178" y="104"/>
                        <a:pt x="128" y="138"/>
                      </a:cubicBezTo>
                      <a:cubicBezTo>
                        <a:pt x="126" y="144"/>
                        <a:pt x="122" y="150"/>
                        <a:pt x="122" y="156"/>
                      </a:cubicBezTo>
                      <a:cubicBezTo>
                        <a:pt x="122" y="162"/>
                        <a:pt x="132" y="170"/>
                        <a:pt x="128" y="174"/>
                      </a:cubicBezTo>
                      <a:cubicBezTo>
                        <a:pt x="126" y="182"/>
                        <a:pt x="109" y="197"/>
                        <a:pt x="112" y="202"/>
                      </a:cubicBezTo>
                      <a:cubicBezTo>
                        <a:pt x="124" y="206"/>
                        <a:pt x="137" y="195"/>
                        <a:pt x="146" y="204"/>
                      </a:cubicBezTo>
                      <a:cubicBezTo>
                        <a:pt x="151" y="209"/>
                        <a:pt x="135" y="213"/>
                        <a:pt x="128" y="216"/>
                      </a:cubicBezTo>
                      <a:cubicBezTo>
                        <a:pt x="116" y="221"/>
                        <a:pt x="104" y="226"/>
                        <a:pt x="92" y="228"/>
                      </a:cubicBezTo>
                      <a:cubicBezTo>
                        <a:pt x="48" y="237"/>
                        <a:pt x="72" y="233"/>
                        <a:pt x="20" y="240"/>
                      </a:cubicBezTo>
                      <a:cubicBezTo>
                        <a:pt x="0" y="247"/>
                        <a:pt x="2" y="240"/>
                        <a:pt x="2" y="252"/>
                      </a:cubicBezTo>
                      <a:close/>
                    </a:path>
                  </a:pathLst>
                </a:custGeom>
                <a:solidFill>
                  <a:srgbClr val="C0C0C0"/>
                </a:solidFill>
                <a:ln w="6350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>
                  <a:outerShdw dist="28398" dir="3806097" algn="ctr" rotWithShape="0">
                    <a:srgbClr val="333333">
                      <a:alpha val="50000"/>
                    </a:srgbClr>
                  </a:outerShdw>
                </a:effectLst>
              </p:spPr>
              <p:txBody>
                <a:bodyPr/>
                <a:lstStyle/>
                <a:p>
                  <a:pPr>
                    <a:defRPr/>
                  </a:pPr>
                  <a:endParaRPr lang="zh-CN" altLang="en-US"/>
                </a:p>
              </p:txBody>
            </p:sp>
            <p:sp>
              <p:nvSpPr>
                <p:cNvPr id="90" name="Freeform 5"/>
                <p:cNvSpPr>
                  <a:spLocks/>
                </p:cNvSpPr>
                <p:nvPr/>
              </p:nvSpPr>
              <p:spPr bwMode="blackWhite">
                <a:xfrm>
                  <a:off x="703" y="2231"/>
                  <a:ext cx="34" cy="28"/>
                </a:xfrm>
                <a:custGeom>
                  <a:avLst/>
                  <a:gdLst/>
                  <a:ahLst/>
                  <a:cxnLst>
                    <a:cxn ang="0">
                      <a:pos x="16" y="4"/>
                    </a:cxn>
                    <a:cxn ang="0">
                      <a:pos x="0" y="22"/>
                    </a:cxn>
                    <a:cxn ang="0">
                      <a:pos x="22" y="38"/>
                    </a:cxn>
                    <a:cxn ang="0">
                      <a:pos x="46" y="26"/>
                    </a:cxn>
                    <a:cxn ang="0">
                      <a:pos x="30" y="0"/>
                    </a:cxn>
                    <a:cxn ang="0">
                      <a:pos x="16" y="4"/>
                    </a:cxn>
                  </a:cxnLst>
                  <a:rect l="0" t="0" r="r" b="b"/>
                  <a:pathLst>
                    <a:path w="46" h="38">
                      <a:moveTo>
                        <a:pt x="16" y="4"/>
                      </a:moveTo>
                      <a:lnTo>
                        <a:pt x="0" y="22"/>
                      </a:lnTo>
                      <a:lnTo>
                        <a:pt x="22" y="38"/>
                      </a:lnTo>
                      <a:lnTo>
                        <a:pt x="46" y="26"/>
                      </a:lnTo>
                      <a:lnTo>
                        <a:pt x="30" y="0"/>
                      </a:lnTo>
                      <a:lnTo>
                        <a:pt x="16" y="4"/>
                      </a:lnTo>
                      <a:close/>
                    </a:path>
                  </a:pathLst>
                </a:custGeom>
                <a:solidFill>
                  <a:srgbClr val="C0C0C0"/>
                </a:solidFill>
                <a:ln w="6350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>
                  <a:outerShdw dist="28398" dir="3806097" algn="ctr" rotWithShape="0">
                    <a:srgbClr val="333333">
                      <a:alpha val="50000"/>
                    </a:srgbClr>
                  </a:outerShdw>
                </a:effectLst>
              </p:spPr>
              <p:txBody>
                <a:bodyPr/>
                <a:lstStyle/>
                <a:p>
                  <a:pPr>
                    <a:defRPr/>
                  </a:pPr>
                  <a:endParaRPr lang="zh-CN" altLang="en-US"/>
                </a:p>
              </p:txBody>
            </p:sp>
            <p:sp>
              <p:nvSpPr>
                <p:cNvPr id="91" name="Freeform 6"/>
                <p:cNvSpPr>
                  <a:spLocks/>
                </p:cNvSpPr>
                <p:nvPr/>
              </p:nvSpPr>
              <p:spPr bwMode="blackWhite">
                <a:xfrm>
                  <a:off x="1011" y="2354"/>
                  <a:ext cx="38" cy="31"/>
                </a:xfrm>
                <a:custGeom>
                  <a:avLst/>
                  <a:gdLst/>
                  <a:ahLst/>
                  <a:cxnLst>
                    <a:cxn ang="0">
                      <a:pos x="12" y="0"/>
                    </a:cxn>
                    <a:cxn ang="0">
                      <a:pos x="26" y="44"/>
                    </a:cxn>
                    <a:cxn ang="0">
                      <a:pos x="42" y="42"/>
                    </a:cxn>
                    <a:cxn ang="0">
                      <a:pos x="38" y="16"/>
                    </a:cxn>
                    <a:cxn ang="0">
                      <a:pos x="26" y="2"/>
                    </a:cxn>
                    <a:cxn ang="0">
                      <a:pos x="12" y="0"/>
                    </a:cxn>
                  </a:cxnLst>
                  <a:rect l="0" t="0" r="r" b="b"/>
                  <a:pathLst>
                    <a:path w="52" h="44">
                      <a:moveTo>
                        <a:pt x="12" y="0"/>
                      </a:moveTo>
                      <a:cubicBezTo>
                        <a:pt x="16" y="14"/>
                        <a:pt x="18" y="32"/>
                        <a:pt x="26" y="44"/>
                      </a:cubicBezTo>
                      <a:cubicBezTo>
                        <a:pt x="31" y="43"/>
                        <a:pt x="37" y="44"/>
                        <a:pt x="42" y="42"/>
                      </a:cubicBezTo>
                      <a:cubicBezTo>
                        <a:pt x="52" y="38"/>
                        <a:pt x="48" y="19"/>
                        <a:pt x="38" y="16"/>
                      </a:cubicBezTo>
                      <a:cubicBezTo>
                        <a:pt x="33" y="9"/>
                        <a:pt x="34" y="5"/>
                        <a:pt x="26" y="2"/>
                      </a:cubicBezTo>
                      <a:cubicBezTo>
                        <a:pt x="4" y="4"/>
                        <a:pt x="0" y="8"/>
                        <a:pt x="12" y="0"/>
                      </a:cubicBezTo>
                      <a:close/>
                    </a:path>
                  </a:pathLst>
                </a:custGeom>
                <a:solidFill>
                  <a:srgbClr val="C0C0C0"/>
                </a:solidFill>
                <a:ln w="6350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>
                  <a:outerShdw dist="28398" dir="3806097" algn="ctr" rotWithShape="0">
                    <a:srgbClr val="333333">
                      <a:alpha val="50000"/>
                    </a:srgbClr>
                  </a:outerShdw>
                </a:effectLst>
              </p:spPr>
              <p:txBody>
                <a:bodyPr/>
                <a:lstStyle/>
                <a:p>
                  <a:pPr>
                    <a:defRPr/>
                  </a:pPr>
                  <a:endParaRPr lang="zh-CN" altLang="en-US"/>
                </a:p>
              </p:txBody>
            </p:sp>
            <p:sp>
              <p:nvSpPr>
                <p:cNvPr id="92" name="Freeform 7"/>
                <p:cNvSpPr>
                  <a:spLocks/>
                </p:cNvSpPr>
                <p:nvPr/>
              </p:nvSpPr>
              <p:spPr bwMode="blackWhite">
                <a:xfrm>
                  <a:off x="1792" y="2409"/>
                  <a:ext cx="98" cy="74"/>
                </a:xfrm>
                <a:custGeom>
                  <a:avLst/>
                  <a:gdLst/>
                  <a:ahLst/>
                  <a:cxnLst>
                    <a:cxn ang="0">
                      <a:pos x="97" y="0"/>
                    </a:cxn>
                    <a:cxn ang="0">
                      <a:pos x="79" y="8"/>
                    </a:cxn>
                    <a:cxn ang="0">
                      <a:pos x="53" y="24"/>
                    </a:cxn>
                    <a:cxn ang="0">
                      <a:pos x="39" y="40"/>
                    </a:cxn>
                    <a:cxn ang="0">
                      <a:pos x="21" y="52"/>
                    </a:cxn>
                    <a:cxn ang="0">
                      <a:pos x="63" y="82"/>
                    </a:cxn>
                    <a:cxn ang="0">
                      <a:pos x="79" y="94"/>
                    </a:cxn>
                    <a:cxn ang="0">
                      <a:pos x="85" y="92"/>
                    </a:cxn>
                    <a:cxn ang="0">
                      <a:pos x="89" y="86"/>
                    </a:cxn>
                    <a:cxn ang="0">
                      <a:pos x="97" y="98"/>
                    </a:cxn>
                    <a:cxn ang="0">
                      <a:pos x="123" y="86"/>
                    </a:cxn>
                    <a:cxn ang="0">
                      <a:pos x="129" y="74"/>
                    </a:cxn>
                    <a:cxn ang="0">
                      <a:pos x="101" y="40"/>
                    </a:cxn>
                    <a:cxn ang="0">
                      <a:pos x="115" y="24"/>
                    </a:cxn>
                    <a:cxn ang="0">
                      <a:pos x="111" y="4"/>
                    </a:cxn>
                    <a:cxn ang="0">
                      <a:pos x="97" y="0"/>
                    </a:cxn>
                  </a:cxnLst>
                  <a:rect l="0" t="0" r="r" b="b"/>
                  <a:pathLst>
                    <a:path w="131" h="98">
                      <a:moveTo>
                        <a:pt x="97" y="0"/>
                      </a:moveTo>
                      <a:cubicBezTo>
                        <a:pt x="83" y="5"/>
                        <a:pt x="89" y="2"/>
                        <a:pt x="79" y="8"/>
                      </a:cubicBezTo>
                      <a:cubicBezTo>
                        <a:pt x="76" y="18"/>
                        <a:pt x="62" y="18"/>
                        <a:pt x="53" y="24"/>
                      </a:cubicBezTo>
                      <a:cubicBezTo>
                        <a:pt x="49" y="29"/>
                        <a:pt x="44" y="36"/>
                        <a:pt x="39" y="40"/>
                      </a:cubicBezTo>
                      <a:cubicBezTo>
                        <a:pt x="34" y="45"/>
                        <a:pt x="21" y="52"/>
                        <a:pt x="21" y="52"/>
                      </a:cubicBezTo>
                      <a:cubicBezTo>
                        <a:pt x="0" y="84"/>
                        <a:pt x="41" y="75"/>
                        <a:pt x="63" y="82"/>
                      </a:cubicBezTo>
                      <a:cubicBezTo>
                        <a:pt x="68" y="89"/>
                        <a:pt x="71" y="91"/>
                        <a:pt x="79" y="94"/>
                      </a:cubicBezTo>
                      <a:cubicBezTo>
                        <a:pt x="81" y="93"/>
                        <a:pt x="83" y="93"/>
                        <a:pt x="85" y="92"/>
                      </a:cubicBezTo>
                      <a:cubicBezTo>
                        <a:pt x="87" y="90"/>
                        <a:pt x="87" y="85"/>
                        <a:pt x="89" y="86"/>
                      </a:cubicBezTo>
                      <a:cubicBezTo>
                        <a:pt x="93" y="88"/>
                        <a:pt x="97" y="98"/>
                        <a:pt x="97" y="98"/>
                      </a:cubicBezTo>
                      <a:cubicBezTo>
                        <a:pt x="112" y="95"/>
                        <a:pt x="111" y="90"/>
                        <a:pt x="123" y="86"/>
                      </a:cubicBezTo>
                      <a:cubicBezTo>
                        <a:pt x="124" y="82"/>
                        <a:pt x="128" y="78"/>
                        <a:pt x="129" y="74"/>
                      </a:cubicBezTo>
                      <a:cubicBezTo>
                        <a:pt x="131" y="61"/>
                        <a:pt x="108" y="47"/>
                        <a:pt x="101" y="40"/>
                      </a:cubicBezTo>
                      <a:cubicBezTo>
                        <a:pt x="103" y="33"/>
                        <a:pt x="115" y="24"/>
                        <a:pt x="115" y="24"/>
                      </a:cubicBezTo>
                      <a:cubicBezTo>
                        <a:pt x="121" y="15"/>
                        <a:pt x="124" y="8"/>
                        <a:pt x="111" y="4"/>
                      </a:cubicBezTo>
                      <a:cubicBezTo>
                        <a:pt x="101" y="7"/>
                        <a:pt x="97" y="13"/>
                        <a:pt x="97" y="0"/>
                      </a:cubicBezTo>
                      <a:close/>
                    </a:path>
                  </a:pathLst>
                </a:custGeom>
                <a:solidFill>
                  <a:srgbClr val="C0C0C0"/>
                </a:solidFill>
                <a:ln w="6350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>
                  <a:outerShdw dist="28398" dir="3806097" algn="ctr" rotWithShape="0">
                    <a:srgbClr val="333333">
                      <a:alpha val="50000"/>
                    </a:srgbClr>
                  </a:outerShdw>
                </a:effectLst>
              </p:spPr>
              <p:txBody>
                <a:bodyPr/>
                <a:lstStyle/>
                <a:p>
                  <a:pPr>
                    <a:defRPr/>
                  </a:pPr>
                  <a:endParaRPr lang="zh-CN" altLang="en-US"/>
                </a:p>
              </p:txBody>
            </p:sp>
            <p:sp>
              <p:nvSpPr>
                <p:cNvPr id="93" name="Freeform 8"/>
                <p:cNvSpPr>
                  <a:spLocks/>
                </p:cNvSpPr>
                <p:nvPr/>
              </p:nvSpPr>
              <p:spPr bwMode="blackWhite">
                <a:xfrm>
                  <a:off x="1318" y="2793"/>
                  <a:ext cx="158" cy="84"/>
                </a:xfrm>
                <a:custGeom>
                  <a:avLst/>
                  <a:gdLst/>
                  <a:ahLst/>
                  <a:cxnLst>
                    <a:cxn ang="0">
                      <a:pos x="47" y="12"/>
                    </a:cxn>
                    <a:cxn ang="0">
                      <a:pos x="17" y="12"/>
                    </a:cxn>
                    <a:cxn ang="0">
                      <a:pos x="5" y="16"/>
                    </a:cxn>
                    <a:cxn ang="0">
                      <a:pos x="25" y="52"/>
                    </a:cxn>
                    <a:cxn ang="0">
                      <a:pos x="51" y="44"/>
                    </a:cxn>
                    <a:cxn ang="0">
                      <a:pos x="93" y="54"/>
                    </a:cxn>
                    <a:cxn ang="0">
                      <a:pos x="111" y="60"/>
                    </a:cxn>
                    <a:cxn ang="0">
                      <a:pos x="133" y="88"/>
                    </a:cxn>
                    <a:cxn ang="0">
                      <a:pos x="141" y="112"/>
                    </a:cxn>
                    <a:cxn ang="0">
                      <a:pos x="157" y="100"/>
                    </a:cxn>
                    <a:cxn ang="0">
                      <a:pos x="169" y="96"/>
                    </a:cxn>
                    <a:cxn ang="0">
                      <a:pos x="187" y="102"/>
                    </a:cxn>
                    <a:cxn ang="0">
                      <a:pos x="195" y="80"/>
                    </a:cxn>
                    <a:cxn ang="0">
                      <a:pos x="153" y="54"/>
                    </a:cxn>
                    <a:cxn ang="0">
                      <a:pos x="105" y="20"/>
                    </a:cxn>
                    <a:cxn ang="0">
                      <a:pos x="53" y="26"/>
                    </a:cxn>
                    <a:cxn ang="0">
                      <a:pos x="47" y="12"/>
                    </a:cxn>
                  </a:cxnLst>
                  <a:rect l="0" t="0" r="r" b="b"/>
                  <a:pathLst>
                    <a:path w="212" h="112">
                      <a:moveTo>
                        <a:pt x="47" y="12"/>
                      </a:moveTo>
                      <a:cubicBezTo>
                        <a:pt x="39" y="0"/>
                        <a:pt x="28" y="7"/>
                        <a:pt x="17" y="12"/>
                      </a:cubicBezTo>
                      <a:cubicBezTo>
                        <a:pt x="13" y="14"/>
                        <a:pt x="5" y="16"/>
                        <a:pt x="5" y="16"/>
                      </a:cubicBezTo>
                      <a:cubicBezTo>
                        <a:pt x="0" y="31"/>
                        <a:pt x="10" y="48"/>
                        <a:pt x="25" y="52"/>
                      </a:cubicBezTo>
                      <a:cubicBezTo>
                        <a:pt x="37" y="50"/>
                        <a:pt x="41" y="47"/>
                        <a:pt x="51" y="44"/>
                      </a:cubicBezTo>
                      <a:cubicBezTo>
                        <a:pt x="65" y="53"/>
                        <a:pt x="76" y="53"/>
                        <a:pt x="93" y="54"/>
                      </a:cubicBezTo>
                      <a:cubicBezTo>
                        <a:pt x="99" y="56"/>
                        <a:pt x="111" y="60"/>
                        <a:pt x="111" y="60"/>
                      </a:cubicBezTo>
                      <a:cubicBezTo>
                        <a:pt x="120" y="69"/>
                        <a:pt x="129" y="75"/>
                        <a:pt x="133" y="88"/>
                      </a:cubicBezTo>
                      <a:cubicBezTo>
                        <a:pt x="125" y="100"/>
                        <a:pt x="126" y="107"/>
                        <a:pt x="141" y="112"/>
                      </a:cubicBezTo>
                      <a:cubicBezTo>
                        <a:pt x="145" y="106"/>
                        <a:pt x="150" y="103"/>
                        <a:pt x="157" y="100"/>
                      </a:cubicBezTo>
                      <a:cubicBezTo>
                        <a:pt x="161" y="98"/>
                        <a:pt x="169" y="96"/>
                        <a:pt x="169" y="96"/>
                      </a:cubicBezTo>
                      <a:cubicBezTo>
                        <a:pt x="175" y="98"/>
                        <a:pt x="187" y="102"/>
                        <a:pt x="187" y="102"/>
                      </a:cubicBezTo>
                      <a:cubicBezTo>
                        <a:pt x="203" y="100"/>
                        <a:pt x="212" y="94"/>
                        <a:pt x="195" y="80"/>
                      </a:cubicBezTo>
                      <a:cubicBezTo>
                        <a:pt x="183" y="70"/>
                        <a:pt x="165" y="66"/>
                        <a:pt x="153" y="54"/>
                      </a:cubicBezTo>
                      <a:cubicBezTo>
                        <a:pt x="141" y="42"/>
                        <a:pt x="122" y="26"/>
                        <a:pt x="105" y="20"/>
                      </a:cubicBezTo>
                      <a:cubicBezTo>
                        <a:pt x="85" y="21"/>
                        <a:pt x="71" y="20"/>
                        <a:pt x="53" y="26"/>
                      </a:cubicBezTo>
                      <a:cubicBezTo>
                        <a:pt x="47" y="24"/>
                        <a:pt x="33" y="12"/>
                        <a:pt x="47" y="12"/>
                      </a:cubicBezTo>
                      <a:close/>
                    </a:path>
                  </a:pathLst>
                </a:custGeom>
                <a:solidFill>
                  <a:srgbClr val="C0C0C0"/>
                </a:solidFill>
                <a:ln w="6350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>
                  <a:outerShdw dist="28398" dir="3806097" algn="ctr" rotWithShape="0">
                    <a:srgbClr val="333333">
                      <a:alpha val="50000"/>
                    </a:srgbClr>
                  </a:outerShdw>
                </a:effectLst>
              </p:spPr>
              <p:txBody>
                <a:bodyPr/>
                <a:lstStyle/>
                <a:p>
                  <a:pPr>
                    <a:defRPr/>
                  </a:pPr>
                  <a:endParaRPr lang="zh-CN" altLang="en-US"/>
                </a:p>
              </p:txBody>
            </p:sp>
            <p:sp>
              <p:nvSpPr>
                <p:cNvPr id="94" name="Freeform 9"/>
                <p:cNvSpPr>
                  <a:spLocks/>
                </p:cNvSpPr>
                <p:nvPr/>
              </p:nvSpPr>
              <p:spPr bwMode="blackWhite">
                <a:xfrm>
                  <a:off x="1448" y="2857"/>
                  <a:ext cx="99" cy="41"/>
                </a:xfrm>
                <a:custGeom>
                  <a:avLst/>
                  <a:gdLst/>
                  <a:ahLst/>
                  <a:cxnLst>
                    <a:cxn ang="0">
                      <a:pos x="57" y="0"/>
                    </a:cxn>
                    <a:cxn ang="0">
                      <a:pos x="43" y="6"/>
                    </a:cxn>
                    <a:cxn ang="0">
                      <a:pos x="31" y="30"/>
                    </a:cxn>
                    <a:cxn ang="0">
                      <a:pos x="15" y="34"/>
                    </a:cxn>
                    <a:cxn ang="0">
                      <a:pos x="3" y="42"/>
                    </a:cxn>
                    <a:cxn ang="0">
                      <a:pos x="13" y="54"/>
                    </a:cxn>
                    <a:cxn ang="0">
                      <a:pos x="133" y="34"/>
                    </a:cxn>
                    <a:cxn ang="0">
                      <a:pos x="123" y="16"/>
                    </a:cxn>
                    <a:cxn ang="0">
                      <a:pos x="105" y="8"/>
                    </a:cxn>
                    <a:cxn ang="0">
                      <a:pos x="101" y="24"/>
                    </a:cxn>
                    <a:cxn ang="0">
                      <a:pos x="89" y="18"/>
                    </a:cxn>
                    <a:cxn ang="0">
                      <a:pos x="67" y="14"/>
                    </a:cxn>
                    <a:cxn ang="0">
                      <a:pos x="57" y="0"/>
                    </a:cxn>
                  </a:cxnLst>
                  <a:rect l="0" t="0" r="r" b="b"/>
                  <a:pathLst>
                    <a:path w="133" h="54">
                      <a:moveTo>
                        <a:pt x="57" y="0"/>
                      </a:moveTo>
                      <a:cubicBezTo>
                        <a:pt x="53" y="3"/>
                        <a:pt x="46" y="2"/>
                        <a:pt x="43" y="6"/>
                      </a:cubicBezTo>
                      <a:cubicBezTo>
                        <a:pt x="36" y="14"/>
                        <a:pt x="43" y="26"/>
                        <a:pt x="31" y="30"/>
                      </a:cubicBezTo>
                      <a:cubicBezTo>
                        <a:pt x="26" y="32"/>
                        <a:pt x="20" y="31"/>
                        <a:pt x="15" y="34"/>
                      </a:cubicBezTo>
                      <a:cubicBezTo>
                        <a:pt x="11" y="36"/>
                        <a:pt x="3" y="42"/>
                        <a:pt x="3" y="42"/>
                      </a:cubicBezTo>
                      <a:cubicBezTo>
                        <a:pt x="0" y="51"/>
                        <a:pt x="5" y="51"/>
                        <a:pt x="13" y="54"/>
                      </a:cubicBezTo>
                      <a:cubicBezTo>
                        <a:pt x="51" y="51"/>
                        <a:pt x="97" y="46"/>
                        <a:pt x="133" y="34"/>
                      </a:cubicBezTo>
                      <a:cubicBezTo>
                        <a:pt x="129" y="28"/>
                        <a:pt x="128" y="21"/>
                        <a:pt x="123" y="16"/>
                      </a:cubicBezTo>
                      <a:cubicBezTo>
                        <a:pt x="118" y="11"/>
                        <a:pt x="105" y="8"/>
                        <a:pt x="105" y="8"/>
                      </a:cubicBezTo>
                      <a:cubicBezTo>
                        <a:pt x="84" y="13"/>
                        <a:pt x="106" y="19"/>
                        <a:pt x="101" y="24"/>
                      </a:cubicBezTo>
                      <a:cubicBezTo>
                        <a:pt x="99" y="26"/>
                        <a:pt x="89" y="18"/>
                        <a:pt x="89" y="18"/>
                      </a:cubicBezTo>
                      <a:cubicBezTo>
                        <a:pt x="83" y="15"/>
                        <a:pt x="73" y="15"/>
                        <a:pt x="67" y="14"/>
                      </a:cubicBezTo>
                      <a:cubicBezTo>
                        <a:pt x="58" y="8"/>
                        <a:pt x="62" y="12"/>
                        <a:pt x="57" y="0"/>
                      </a:cubicBezTo>
                      <a:close/>
                    </a:path>
                  </a:pathLst>
                </a:custGeom>
                <a:solidFill>
                  <a:srgbClr val="C0C0C0"/>
                </a:solidFill>
                <a:ln w="6350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>
                  <a:outerShdw dist="28398" dir="3806097" algn="ctr" rotWithShape="0">
                    <a:srgbClr val="333333">
                      <a:alpha val="50000"/>
                    </a:srgbClr>
                  </a:outerShdw>
                </a:effectLst>
              </p:spPr>
              <p:txBody>
                <a:bodyPr/>
                <a:lstStyle/>
                <a:p>
                  <a:pPr>
                    <a:defRPr/>
                  </a:pPr>
                  <a:endParaRPr lang="zh-CN" altLang="en-US"/>
                </a:p>
              </p:txBody>
            </p:sp>
            <p:sp>
              <p:nvSpPr>
                <p:cNvPr id="95" name="Freeform 10"/>
                <p:cNvSpPr>
                  <a:spLocks/>
                </p:cNvSpPr>
                <p:nvPr/>
              </p:nvSpPr>
              <p:spPr bwMode="blackWhite">
                <a:xfrm>
                  <a:off x="1553" y="2884"/>
                  <a:ext cx="38" cy="19"/>
                </a:xfrm>
                <a:custGeom>
                  <a:avLst/>
                  <a:gdLst/>
                  <a:ahLst/>
                  <a:cxnLst>
                    <a:cxn ang="0">
                      <a:pos x="13" y="0"/>
                    </a:cxn>
                    <a:cxn ang="0">
                      <a:pos x="7" y="18"/>
                    </a:cxn>
                    <a:cxn ang="0">
                      <a:pos x="27" y="24"/>
                    </a:cxn>
                    <a:cxn ang="0">
                      <a:pos x="33" y="4"/>
                    </a:cxn>
                    <a:cxn ang="0">
                      <a:pos x="13" y="0"/>
                    </a:cxn>
                  </a:cxnLst>
                  <a:rect l="0" t="0" r="r" b="b"/>
                  <a:pathLst>
                    <a:path w="51" h="24">
                      <a:moveTo>
                        <a:pt x="13" y="0"/>
                      </a:moveTo>
                      <a:cubicBezTo>
                        <a:pt x="12" y="2"/>
                        <a:pt x="0" y="12"/>
                        <a:pt x="7" y="18"/>
                      </a:cubicBezTo>
                      <a:cubicBezTo>
                        <a:pt x="12" y="22"/>
                        <a:pt x="27" y="24"/>
                        <a:pt x="27" y="24"/>
                      </a:cubicBezTo>
                      <a:cubicBezTo>
                        <a:pt x="44" y="22"/>
                        <a:pt x="51" y="16"/>
                        <a:pt x="33" y="4"/>
                      </a:cubicBezTo>
                      <a:cubicBezTo>
                        <a:pt x="29" y="1"/>
                        <a:pt x="14" y="0"/>
                        <a:pt x="13" y="0"/>
                      </a:cubicBezTo>
                      <a:close/>
                    </a:path>
                  </a:pathLst>
                </a:custGeom>
                <a:solidFill>
                  <a:srgbClr val="C0C0C0"/>
                </a:solidFill>
                <a:ln w="6350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>
                  <a:outerShdw dist="28398" dir="3806097" algn="ctr" rotWithShape="0">
                    <a:srgbClr val="333333">
                      <a:alpha val="50000"/>
                    </a:srgbClr>
                  </a:outerShdw>
                </a:effectLst>
              </p:spPr>
              <p:txBody>
                <a:bodyPr/>
                <a:lstStyle/>
                <a:p>
                  <a:pPr>
                    <a:defRPr/>
                  </a:pPr>
                  <a:endParaRPr lang="zh-CN" altLang="en-US"/>
                </a:p>
              </p:txBody>
            </p:sp>
            <p:sp>
              <p:nvSpPr>
                <p:cNvPr id="96" name="Freeform 11"/>
                <p:cNvSpPr>
                  <a:spLocks/>
                </p:cNvSpPr>
                <p:nvPr/>
              </p:nvSpPr>
              <p:spPr bwMode="blackWhite">
                <a:xfrm>
                  <a:off x="1609" y="2886"/>
                  <a:ext cx="12" cy="26"/>
                </a:xfrm>
                <a:custGeom>
                  <a:avLst/>
                  <a:gdLst/>
                  <a:ahLst/>
                  <a:cxnLst>
                    <a:cxn ang="0">
                      <a:pos x="14" y="0"/>
                    </a:cxn>
                    <a:cxn ang="0">
                      <a:pos x="0" y="14"/>
                    </a:cxn>
                    <a:cxn ang="0">
                      <a:pos x="16" y="34"/>
                    </a:cxn>
                    <a:cxn ang="0">
                      <a:pos x="12" y="18"/>
                    </a:cxn>
                    <a:cxn ang="0">
                      <a:pos x="16" y="6"/>
                    </a:cxn>
                    <a:cxn ang="0">
                      <a:pos x="14" y="0"/>
                    </a:cxn>
                  </a:cxnLst>
                  <a:rect l="0" t="0" r="r" b="b"/>
                  <a:pathLst>
                    <a:path w="16" h="34">
                      <a:moveTo>
                        <a:pt x="14" y="0"/>
                      </a:moveTo>
                      <a:cubicBezTo>
                        <a:pt x="5" y="3"/>
                        <a:pt x="2" y="4"/>
                        <a:pt x="0" y="14"/>
                      </a:cubicBezTo>
                      <a:cubicBezTo>
                        <a:pt x="3" y="26"/>
                        <a:pt x="4" y="30"/>
                        <a:pt x="16" y="34"/>
                      </a:cubicBezTo>
                      <a:cubicBezTo>
                        <a:pt x="15" y="29"/>
                        <a:pt x="11" y="23"/>
                        <a:pt x="12" y="18"/>
                      </a:cubicBezTo>
                      <a:cubicBezTo>
                        <a:pt x="12" y="14"/>
                        <a:pt x="16" y="6"/>
                        <a:pt x="16" y="6"/>
                      </a:cubicBezTo>
                      <a:cubicBezTo>
                        <a:pt x="9" y="1"/>
                        <a:pt x="8" y="3"/>
                        <a:pt x="14" y="0"/>
                      </a:cubicBezTo>
                      <a:close/>
                    </a:path>
                  </a:pathLst>
                </a:custGeom>
                <a:solidFill>
                  <a:srgbClr val="C0C0C0"/>
                </a:solidFill>
                <a:ln w="6350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>
                  <a:outerShdw dist="28398" dir="3806097" algn="ctr" rotWithShape="0">
                    <a:srgbClr val="333333">
                      <a:alpha val="50000"/>
                    </a:srgbClr>
                  </a:outerShdw>
                </a:effectLst>
              </p:spPr>
              <p:txBody>
                <a:bodyPr/>
                <a:lstStyle/>
                <a:p>
                  <a:pPr>
                    <a:defRPr/>
                  </a:pPr>
                  <a:endParaRPr lang="zh-CN" altLang="en-US"/>
                </a:p>
              </p:txBody>
            </p:sp>
            <p:sp>
              <p:nvSpPr>
                <p:cNvPr id="97" name="Freeform 12"/>
                <p:cNvSpPr>
                  <a:spLocks/>
                </p:cNvSpPr>
                <p:nvPr/>
              </p:nvSpPr>
              <p:spPr bwMode="blackWhite">
                <a:xfrm>
                  <a:off x="1426" y="2040"/>
                  <a:ext cx="180" cy="86"/>
                </a:xfrm>
                <a:custGeom>
                  <a:avLst/>
                  <a:gdLst/>
                  <a:ahLst/>
                  <a:cxnLst>
                    <a:cxn ang="0">
                      <a:pos x="64" y="1"/>
                    </a:cxn>
                    <a:cxn ang="0">
                      <a:pos x="24" y="31"/>
                    </a:cxn>
                    <a:cxn ang="0">
                      <a:pos x="6" y="37"/>
                    </a:cxn>
                    <a:cxn ang="0">
                      <a:pos x="0" y="39"/>
                    </a:cxn>
                    <a:cxn ang="0">
                      <a:pos x="26" y="59"/>
                    </a:cxn>
                    <a:cxn ang="0">
                      <a:pos x="38" y="63"/>
                    </a:cxn>
                    <a:cxn ang="0">
                      <a:pos x="68" y="47"/>
                    </a:cxn>
                    <a:cxn ang="0">
                      <a:pos x="80" y="43"/>
                    </a:cxn>
                    <a:cxn ang="0">
                      <a:pos x="82" y="55"/>
                    </a:cxn>
                    <a:cxn ang="0">
                      <a:pos x="64" y="61"/>
                    </a:cxn>
                    <a:cxn ang="0">
                      <a:pos x="72" y="73"/>
                    </a:cxn>
                    <a:cxn ang="0">
                      <a:pos x="40" y="87"/>
                    </a:cxn>
                    <a:cxn ang="0">
                      <a:pos x="70" y="109"/>
                    </a:cxn>
                    <a:cxn ang="0">
                      <a:pos x="82" y="113"/>
                    </a:cxn>
                    <a:cxn ang="0">
                      <a:pos x="118" y="103"/>
                    </a:cxn>
                    <a:cxn ang="0">
                      <a:pos x="150" y="105"/>
                    </a:cxn>
                    <a:cxn ang="0">
                      <a:pos x="168" y="117"/>
                    </a:cxn>
                    <a:cxn ang="0">
                      <a:pos x="204" y="109"/>
                    </a:cxn>
                    <a:cxn ang="0">
                      <a:pos x="224" y="103"/>
                    </a:cxn>
                    <a:cxn ang="0">
                      <a:pos x="222" y="77"/>
                    </a:cxn>
                    <a:cxn ang="0">
                      <a:pos x="234" y="69"/>
                    </a:cxn>
                    <a:cxn ang="0">
                      <a:pos x="238" y="47"/>
                    </a:cxn>
                    <a:cxn ang="0">
                      <a:pos x="210" y="57"/>
                    </a:cxn>
                    <a:cxn ang="0">
                      <a:pos x="200" y="43"/>
                    </a:cxn>
                    <a:cxn ang="0">
                      <a:pos x="172" y="45"/>
                    </a:cxn>
                    <a:cxn ang="0">
                      <a:pos x="134" y="9"/>
                    </a:cxn>
                    <a:cxn ang="0">
                      <a:pos x="94" y="11"/>
                    </a:cxn>
                    <a:cxn ang="0">
                      <a:pos x="82" y="1"/>
                    </a:cxn>
                    <a:cxn ang="0">
                      <a:pos x="64" y="1"/>
                    </a:cxn>
                  </a:cxnLst>
                  <a:rect l="0" t="0" r="r" b="b"/>
                  <a:pathLst>
                    <a:path w="240" h="117">
                      <a:moveTo>
                        <a:pt x="64" y="1"/>
                      </a:moveTo>
                      <a:cubicBezTo>
                        <a:pt x="57" y="21"/>
                        <a:pt x="44" y="24"/>
                        <a:pt x="24" y="31"/>
                      </a:cubicBezTo>
                      <a:cubicBezTo>
                        <a:pt x="18" y="33"/>
                        <a:pt x="12" y="35"/>
                        <a:pt x="6" y="37"/>
                      </a:cubicBezTo>
                      <a:cubicBezTo>
                        <a:pt x="4" y="38"/>
                        <a:pt x="0" y="39"/>
                        <a:pt x="0" y="39"/>
                      </a:cubicBezTo>
                      <a:cubicBezTo>
                        <a:pt x="3" y="55"/>
                        <a:pt x="12" y="54"/>
                        <a:pt x="26" y="59"/>
                      </a:cubicBezTo>
                      <a:cubicBezTo>
                        <a:pt x="30" y="60"/>
                        <a:pt x="38" y="63"/>
                        <a:pt x="38" y="63"/>
                      </a:cubicBezTo>
                      <a:cubicBezTo>
                        <a:pt x="50" y="59"/>
                        <a:pt x="57" y="54"/>
                        <a:pt x="68" y="47"/>
                      </a:cubicBezTo>
                      <a:cubicBezTo>
                        <a:pt x="72" y="45"/>
                        <a:pt x="80" y="43"/>
                        <a:pt x="80" y="43"/>
                      </a:cubicBezTo>
                      <a:cubicBezTo>
                        <a:pt x="82" y="46"/>
                        <a:pt x="88" y="51"/>
                        <a:pt x="82" y="55"/>
                      </a:cubicBezTo>
                      <a:cubicBezTo>
                        <a:pt x="77" y="59"/>
                        <a:pt x="64" y="61"/>
                        <a:pt x="64" y="61"/>
                      </a:cubicBezTo>
                      <a:cubicBezTo>
                        <a:pt x="58" y="70"/>
                        <a:pt x="63" y="70"/>
                        <a:pt x="72" y="73"/>
                      </a:cubicBezTo>
                      <a:cubicBezTo>
                        <a:pt x="77" y="88"/>
                        <a:pt x="50" y="86"/>
                        <a:pt x="40" y="87"/>
                      </a:cubicBezTo>
                      <a:cubicBezTo>
                        <a:pt x="47" y="94"/>
                        <a:pt x="60" y="106"/>
                        <a:pt x="70" y="109"/>
                      </a:cubicBezTo>
                      <a:cubicBezTo>
                        <a:pt x="74" y="110"/>
                        <a:pt x="82" y="113"/>
                        <a:pt x="82" y="113"/>
                      </a:cubicBezTo>
                      <a:cubicBezTo>
                        <a:pt x="99" y="111"/>
                        <a:pt x="104" y="108"/>
                        <a:pt x="118" y="103"/>
                      </a:cubicBezTo>
                      <a:cubicBezTo>
                        <a:pt x="129" y="104"/>
                        <a:pt x="140" y="103"/>
                        <a:pt x="150" y="105"/>
                      </a:cubicBezTo>
                      <a:cubicBezTo>
                        <a:pt x="157" y="107"/>
                        <a:pt x="168" y="117"/>
                        <a:pt x="168" y="117"/>
                      </a:cubicBezTo>
                      <a:cubicBezTo>
                        <a:pt x="193" y="115"/>
                        <a:pt x="188" y="116"/>
                        <a:pt x="204" y="109"/>
                      </a:cubicBezTo>
                      <a:cubicBezTo>
                        <a:pt x="210" y="106"/>
                        <a:pt x="224" y="103"/>
                        <a:pt x="224" y="103"/>
                      </a:cubicBezTo>
                      <a:cubicBezTo>
                        <a:pt x="223" y="98"/>
                        <a:pt x="217" y="82"/>
                        <a:pt x="222" y="77"/>
                      </a:cubicBezTo>
                      <a:cubicBezTo>
                        <a:pt x="225" y="73"/>
                        <a:pt x="234" y="69"/>
                        <a:pt x="234" y="69"/>
                      </a:cubicBezTo>
                      <a:cubicBezTo>
                        <a:pt x="237" y="59"/>
                        <a:pt x="240" y="59"/>
                        <a:pt x="238" y="47"/>
                      </a:cubicBezTo>
                      <a:cubicBezTo>
                        <a:pt x="228" y="49"/>
                        <a:pt x="219" y="51"/>
                        <a:pt x="210" y="57"/>
                      </a:cubicBezTo>
                      <a:cubicBezTo>
                        <a:pt x="201" y="71"/>
                        <a:pt x="201" y="50"/>
                        <a:pt x="200" y="43"/>
                      </a:cubicBezTo>
                      <a:cubicBezTo>
                        <a:pt x="189" y="45"/>
                        <a:pt x="182" y="48"/>
                        <a:pt x="172" y="45"/>
                      </a:cubicBezTo>
                      <a:cubicBezTo>
                        <a:pt x="161" y="34"/>
                        <a:pt x="148" y="14"/>
                        <a:pt x="134" y="9"/>
                      </a:cubicBezTo>
                      <a:cubicBezTo>
                        <a:pt x="119" y="11"/>
                        <a:pt x="108" y="13"/>
                        <a:pt x="94" y="11"/>
                      </a:cubicBezTo>
                      <a:cubicBezTo>
                        <a:pt x="92" y="9"/>
                        <a:pt x="85" y="2"/>
                        <a:pt x="82" y="1"/>
                      </a:cubicBezTo>
                      <a:cubicBezTo>
                        <a:pt x="74" y="0"/>
                        <a:pt x="72" y="9"/>
                        <a:pt x="64" y="1"/>
                      </a:cubicBezTo>
                      <a:close/>
                    </a:path>
                  </a:pathLst>
                </a:custGeom>
                <a:solidFill>
                  <a:srgbClr val="C0C0C0"/>
                </a:solidFill>
                <a:ln w="6350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>
                  <a:outerShdw dist="28398" dir="3806097" algn="ctr" rotWithShape="0">
                    <a:srgbClr val="333333">
                      <a:alpha val="50000"/>
                    </a:srgbClr>
                  </a:outerShdw>
                </a:effectLst>
              </p:spPr>
              <p:txBody>
                <a:bodyPr/>
                <a:lstStyle/>
                <a:p>
                  <a:pPr>
                    <a:defRPr/>
                  </a:pPr>
                  <a:endParaRPr lang="zh-CN" altLang="en-US"/>
                </a:p>
              </p:txBody>
            </p:sp>
            <p:sp>
              <p:nvSpPr>
                <p:cNvPr id="98" name="Freeform 13"/>
                <p:cNvSpPr>
                  <a:spLocks/>
                </p:cNvSpPr>
                <p:nvPr/>
              </p:nvSpPr>
              <p:spPr bwMode="blackWhite">
                <a:xfrm>
                  <a:off x="1506" y="1999"/>
                  <a:ext cx="146" cy="60"/>
                </a:xfrm>
                <a:custGeom>
                  <a:avLst/>
                  <a:gdLst/>
                  <a:ahLst/>
                  <a:cxnLst>
                    <a:cxn ang="0">
                      <a:pos x="97" y="10"/>
                    </a:cxn>
                    <a:cxn ang="0">
                      <a:pos x="13" y="24"/>
                    </a:cxn>
                    <a:cxn ang="0">
                      <a:pos x="9" y="34"/>
                    </a:cxn>
                    <a:cxn ang="0">
                      <a:pos x="57" y="52"/>
                    </a:cxn>
                    <a:cxn ang="0">
                      <a:pos x="135" y="74"/>
                    </a:cxn>
                    <a:cxn ang="0">
                      <a:pos x="175" y="68"/>
                    </a:cxn>
                    <a:cxn ang="0">
                      <a:pos x="187" y="64"/>
                    </a:cxn>
                    <a:cxn ang="0">
                      <a:pos x="175" y="44"/>
                    </a:cxn>
                    <a:cxn ang="0">
                      <a:pos x="163" y="36"/>
                    </a:cxn>
                    <a:cxn ang="0">
                      <a:pos x="129" y="26"/>
                    </a:cxn>
                    <a:cxn ang="0">
                      <a:pos x="97" y="10"/>
                    </a:cxn>
                  </a:cxnLst>
                  <a:rect l="0" t="0" r="r" b="b"/>
                  <a:pathLst>
                    <a:path w="194" h="80">
                      <a:moveTo>
                        <a:pt x="97" y="10"/>
                      </a:moveTo>
                      <a:cubicBezTo>
                        <a:pt x="70" y="19"/>
                        <a:pt x="42" y="22"/>
                        <a:pt x="13" y="24"/>
                      </a:cubicBezTo>
                      <a:cubicBezTo>
                        <a:pt x="9" y="25"/>
                        <a:pt x="0" y="26"/>
                        <a:pt x="9" y="34"/>
                      </a:cubicBezTo>
                      <a:cubicBezTo>
                        <a:pt x="21" y="44"/>
                        <a:pt x="43" y="43"/>
                        <a:pt x="57" y="52"/>
                      </a:cubicBezTo>
                      <a:cubicBezTo>
                        <a:pt x="75" y="80"/>
                        <a:pt x="104" y="73"/>
                        <a:pt x="135" y="74"/>
                      </a:cubicBezTo>
                      <a:cubicBezTo>
                        <a:pt x="153" y="73"/>
                        <a:pt x="159" y="73"/>
                        <a:pt x="175" y="68"/>
                      </a:cubicBezTo>
                      <a:cubicBezTo>
                        <a:pt x="179" y="67"/>
                        <a:pt x="187" y="64"/>
                        <a:pt x="187" y="64"/>
                      </a:cubicBezTo>
                      <a:cubicBezTo>
                        <a:pt x="194" y="53"/>
                        <a:pt x="184" y="49"/>
                        <a:pt x="175" y="44"/>
                      </a:cubicBezTo>
                      <a:cubicBezTo>
                        <a:pt x="171" y="42"/>
                        <a:pt x="163" y="36"/>
                        <a:pt x="163" y="36"/>
                      </a:cubicBezTo>
                      <a:cubicBezTo>
                        <a:pt x="140" y="41"/>
                        <a:pt x="147" y="38"/>
                        <a:pt x="129" y="26"/>
                      </a:cubicBezTo>
                      <a:cubicBezTo>
                        <a:pt x="123" y="17"/>
                        <a:pt x="107" y="0"/>
                        <a:pt x="97" y="10"/>
                      </a:cubicBezTo>
                      <a:close/>
                    </a:path>
                  </a:pathLst>
                </a:custGeom>
                <a:solidFill>
                  <a:srgbClr val="C0C0C0"/>
                </a:solidFill>
                <a:ln w="6350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>
                  <a:outerShdw dist="28398" dir="3806097" algn="ctr" rotWithShape="0">
                    <a:srgbClr val="333333">
                      <a:alpha val="50000"/>
                    </a:srgbClr>
                  </a:outerShdw>
                </a:effectLst>
              </p:spPr>
              <p:txBody>
                <a:bodyPr/>
                <a:lstStyle/>
                <a:p>
                  <a:pPr>
                    <a:defRPr/>
                  </a:pPr>
                  <a:endParaRPr lang="zh-CN" altLang="en-US"/>
                </a:p>
              </p:txBody>
            </p:sp>
            <p:sp>
              <p:nvSpPr>
                <p:cNvPr id="99" name="Freeform 14"/>
                <p:cNvSpPr>
                  <a:spLocks/>
                </p:cNvSpPr>
                <p:nvPr/>
              </p:nvSpPr>
              <p:spPr bwMode="blackWhite">
                <a:xfrm>
                  <a:off x="1711" y="2070"/>
                  <a:ext cx="233" cy="189"/>
                </a:xfrm>
                <a:custGeom>
                  <a:avLst/>
                  <a:gdLst/>
                  <a:ahLst/>
                  <a:cxnLst>
                    <a:cxn ang="0">
                      <a:pos x="67" y="9"/>
                    </a:cxn>
                    <a:cxn ang="0">
                      <a:pos x="51" y="23"/>
                    </a:cxn>
                    <a:cxn ang="0">
                      <a:pos x="21" y="39"/>
                    </a:cxn>
                    <a:cxn ang="0">
                      <a:pos x="53" y="77"/>
                    </a:cxn>
                    <a:cxn ang="0">
                      <a:pos x="79" y="85"/>
                    </a:cxn>
                    <a:cxn ang="0">
                      <a:pos x="103" y="99"/>
                    </a:cxn>
                    <a:cxn ang="0">
                      <a:pos x="127" y="85"/>
                    </a:cxn>
                    <a:cxn ang="0">
                      <a:pos x="143" y="101"/>
                    </a:cxn>
                    <a:cxn ang="0">
                      <a:pos x="149" y="127"/>
                    </a:cxn>
                    <a:cxn ang="0">
                      <a:pos x="115" y="151"/>
                    </a:cxn>
                    <a:cxn ang="0">
                      <a:pos x="89" y="173"/>
                    </a:cxn>
                    <a:cxn ang="0">
                      <a:pos x="69" y="169"/>
                    </a:cxn>
                    <a:cxn ang="0">
                      <a:pos x="57" y="165"/>
                    </a:cxn>
                    <a:cxn ang="0">
                      <a:pos x="43" y="187"/>
                    </a:cxn>
                    <a:cxn ang="0">
                      <a:pos x="39" y="199"/>
                    </a:cxn>
                    <a:cxn ang="0">
                      <a:pos x="73" y="205"/>
                    </a:cxn>
                    <a:cxn ang="0">
                      <a:pos x="95" y="203"/>
                    </a:cxn>
                    <a:cxn ang="0">
                      <a:pos x="115" y="231"/>
                    </a:cxn>
                    <a:cxn ang="0">
                      <a:pos x="127" y="235"/>
                    </a:cxn>
                    <a:cxn ang="0">
                      <a:pos x="139" y="239"/>
                    </a:cxn>
                    <a:cxn ang="0">
                      <a:pos x="155" y="251"/>
                    </a:cxn>
                    <a:cxn ang="0">
                      <a:pos x="181" y="237"/>
                    </a:cxn>
                    <a:cxn ang="0">
                      <a:pos x="203" y="235"/>
                    </a:cxn>
                    <a:cxn ang="0">
                      <a:pos x="229" y="213"/>
                    </a:cxn>
                    <a:cxn ang="0">
                      <a:pos x="225" y="185"/>
                    </a:cxn>
                    <a:cxn ang="0">
                      <a:pos x="217" y="173"/>
                    </a:cxn>
                    <a:cxn ang="0">
                      <a:pos x="233" y="167"/>
                    </a:cxn>
                    <a:cxn ang="0">
                      <a:pos x="245" y="183"/>
                    </a:cxn>
                    <a:cxn ang="0">
                      <a:pos x="247" y="197"/>
                    </a:cxn>
                    <a:cxn ang="0">
                      <a:pos x="261" y="193"/>
                    </a:cxn>
                    <a:cxn ang="0">
                      <a:pos x="303" y="169"/>
                    </a:cxn>
                    <a:cxn ang="0">
                      <a:pos x="293" y="147"/>
                    </a:cxn>
                    <a:cxn ang="0">
                      <a:pos x="259" y="123"/>
                    </a:cxn>
                    <a:cxn ang="0">
                      <a:pos x="265" y="107"/>
                    </a:cxn>
                    <a:cxn ang="0">
                      <a:pos x="277" y="103"/>
                    </a:cxn>
                    <a:cxn ang="0">
                      <a:pos x="253" y="63"/>
                    </a:cxn>
                    <a:cxn ang="0">
                      <a:pos x="233" y="59"/>
                    </a:cxn>
                    <a:cxn ang="0">
                      <a:pos x="221" y="55"/>
                    </a:cxn>
                    <a:cxn ang="0">
                      <a:pos x="201" y="33"/>
                    </a:cxn>
                    <a:cxn ang="0">
                      <a:pos x="155" y="45"/>
                    </a:cxn>
                    <a:cxn ang="0">
                      <a:pos x="167" y="25"/>
                    </a:cxn>
                    <a:cxn ang="0">
                      <a:pos x="139" y="17"/>
                    </a:cxn>
                    <a:cxn ang="0">
                      <a:pos x="119" y="19"/>
                    </a:cxn>
                    <a:cxn ang="0">
                      <a:pos x="67" y="9"/>
                    </a:cxn>
                  </a:cxnLst>
                  <a:rect l="0" t="0" r="r" b="b"/>
                  <a:pathLst>
                    <a:path w="310" h="254">
                      <a:moveTo>
                        <a:pt x="67" y="9"/>
                      </a:moveTo>
                      <a:cubicBezTo>
                        <a:pt x="63" y="15"/>
                        <a:pt x="51" y="23"/>
                        <a:pt x="51" y="23"/>
                      </a:cubicBezTo>
                      <a:cubicBezTo>
                        <a:pt x="43" y="34"/>
                        <a:pt x="33" y="35"/>
                        <a:pt x="21" y="39"/>
                      </a:cubicBezTo>
                      <a:cubicBezTo>
                        <a:pt x="0" y="71"/>
                        <a:pt x="30" y="74"/>
                        <a:pt x="53" y="77"/>
                      </a:cubicBezTo>
                      <a:cubicBezTo>
                        <a:pt x="61" y="89"/>
                        <a:pt x="63" y="87"/>
                        <a:pt x="79" y="85"/>
                      </a:cubicBezTo>
                      <a:cubicBezTo>
                        <a:pt x="88" y="88"/>
                        <a:pt x="93" y="96"/>
                        <a:pt x="103" y="99"/>
                      </a:cubicBezTo>
                      <a:cubicBezTo>
                        <a:pt x="117" y="96"/>
                        <a:pt x="116" y="89"/>
                        <a:pt x="127" y="85"/>
                      </a:cubicBezTo>
                      <a:cubicBezTo>
                        <a:pt x="134" y="90"/>
                        <a:pt x="138" y="94"/>
                        <a:pt x="143" y="101"/>
                      </a:cubicBezTo>
                      <a:cubicBezTo>
                        <a:pt x="140" y="116"/>
                        <a:pt x="134" y="117"/>
                        <a:pt x="149" y="127"/>
                      </a:cubicBezTo>
                      <a:cubicBezTo>
                        <a:pt x="161" y="144"/>
                        <a:pt x="126" y="147"/>
                        <a:pt x="115" y="151"/>
                      </a:cubicBezTo>
                      <a:cubicBezTo>
                        <a:pt x="109" y="160"/>
                        <a:pt x="100" y="169"/>
                        <a:pt x="89" y="173"/>
                      </a:cubicBezTo>
                      <a:cubicBezTo>
                        <a:pt x="81" y="172"/>
                        <a:pt x="76" y="171"/>
                        <a:pt x="69" y="169"/>
                      </a:cubicBezTo>
                      <a:cubicBezTo>
                        <a:pt x="65" y="168"/>
                        <a:pt x="57" y="165"/>
                        <a:pt x="57" y="165"/>
                      </a:cubicBezTo>
                      <a:cubicBezTo>
                        <a:pt x="46" y="169"/>
                        <a:pt x="46" y="177"/>
                        <a:pt x="43" y="187"/>
                      </a:cubicBezTo>
                      <a:cubicBezTo>
                        <a:pt x="42" y="191"/>
                        <a:pt x="39" y="199"/>
                        <a:pt x="39" y="199"/>
                      </a:cubicBezTo>
                      <a:cubicBezTo>
                        <a:pt x="50" y="203"/>
                        <a:pt x="61" y="204"/>
                        <a:pt x="73" y="205"/>
                      </a:cubicBezTo>
                      <a:cubicBezTo>
                        <a:pt x="82" y="203"/>
                        <a:pt x="86" y="201"/>
                        <a:pt x="95" y="203"/>
                      </a:cubicBezTo>
                      <a:cubicBezTo>
                        <a:pt x="107" y="211"/>
                        <a:pt x="111" y="218"/>
                        <a:pt x="115" y="231"/>
                      </a:cubicBezTo>
                      <a:cubicBezTo>
                        <a:pt x="116" y="235"/>
                        <a:pt x="123" y="234"/>
                        <a:pt x="127" y="235"/>
                      </a:cubicBezTo>
                      <a:cubicBezTo>
                        <a:pt x="131" y="236"/>
                        <a:pt x="139" y="239"/>
                        <a:pt x="139" y="239"/>
                      </a:cubicBezTo>
                      <a:cubicBezTo>
                        <a:pt x="144" y="246"/>
                        <a:pt x="147" y="248"/>
                        <a:pt x="155" y="251"/>
                      </a:cubicBezTo>
                      <a:cubicBezTo>
                        <a:pt x="169" y="250"/>
                        <a:pt x="187" y="254"/>
                        <a:pt x="181" y="237"/>
                      </a:cubicBezTo>
                      <a:cubicBezTo>
                        <a:pt x="184" y="220"/>
                        <a:pt x="192" y="228"/>
                        <a:pt x="203" y="235"/>
                      </a:cubicBezTo>
                      <a:cubicBezTo>
                        <a:pt x="224" y="233"/>
                        <a:pt x="224" y="232"/>
                        <a:pt x="229" y="213"/>
                      </a:cubicBezTo>
                      <a:cubicBezTo>
                        <a:pt x="229" y="211"/>
                        <a:pt x="229" y="192"/>
                        <a:pt x="225" y="185"/>
                      </a:cubicBezTo>
                      <a:cubicBezTo>
                        <a:pt x="223" y="181"/>
                        <a:pt x="217" y="173"/>
                        <a:pt x="217" y="173"/>
                      </a:cubicBezTo>
                      <a:cubicBezTo>
                        <a:pt x="220" y="163"/>
                        <a:pt x="224" y="165"/>
                        <a:pt x="233" y="167"/>
                      </a:cubicBezTo>
                      <a:cubicBezTo>
                        <a:pt x="240" y="172"/>
                        <a:pt x="242" y="175"/>
                        <a:pt x="245" y="183"/>
                      </a:cubicBezTo>
                      <a:cubicBezTo>
                        <a:pt x="246" y="188"/>
                        <a:pt x="244" y="193"/>
                        <a:pt x="247" y="197"/>
                      </a:cubicBezTo>
                      <a:cubicBezTo>
                        <a:pt x="250" y="201"/>
                        <a:pt x="256" y="194"/>
                        <a:pt x="261" y="193"/>
                      </a:cubicBezTo>
                      <a:cubicBezTo>
                        <a:pt x="276" y="188"/>
                        <a:pt x="290" y="178"/>
                        <a:pt x="303" y="169"/>
                      </a:cubicBezTo>
                      <a:cubicBezTo>
                        <a:pt x="310" y="158"/>
                        <a:pt x="302" y="153"/>
                        <a:pt x="293" y="147"/>
                      </a:cubicBezTo>
                      <a:cubicBezTo>
                        <a:pt x="281" y="129"/>
                        <a:pt x="283" y="126"/>
                        <a:pt x="259" y="123"/>
                      </a:cubicBezTo>
                      <a:cubicBezTo>
                        <a:pt x="256" y="115"/>
                        <a:pt x="257" y="111"/>
                        <a:pt x="265" y="107"/>
                      </a:cubicBezTo>
                      <a:cubicBezTo>
                        <a:pt x="269" y="105"/>
                        <a:pt x="277" y="103"/>
                        <a:pt x="277" y="103"/>
                      </a:cubicBezTo>
                      <a:cubicBezTo>
                        <a:pt x="287" y="88"/>
                        <a:pt x="269" y="66"/>
                        <a:pt x="253" y="63"/>
                      </a:cubicBezTo>
                      <a:cubicBezTo>
                        <a:pt x="239" y="60"/>
                        <a:pt x="244" y="62"/>
                        <a:pt x="233" y="59"/>
                      </a:cubicBezTo>
                      <a:cubicBezTo>
                        <a:pt x="229" y="58"/>
                        <a:pt x="221" y="55"/>
                        <a:pt x="221" y="55"/>
                      </a:cubicBezTo>
                      <a:cubicBezTo>
                        <a:pt x="200" y="60"/>
                        <a:pt x="217" y="38"/>
                        <a:pt x="201" y="33"/>
                      </a:cubicBezTo>
                      <a:cubicBezTo>
                        <a:pt x="185" y="35"/>
                        <a:pt x="169" y="36"/>
                        <a:pt x="155" y="45"/>
                      </a:cubicBezTo>
                      <a:cubicBezTo>
                        <a:pt x="145" y="30"/>
                        <a:pt x="152" y="30"/>
                        <a:pt x="167" y="25"/>
                      </a:cubicBezTo>
                      <a:cubicBezTo>
                        <a:pt x="163" y="10"/>
                        <a:pt x="155" y="15"/>
                        <a:pt x="139" y="17"/>
                      </a:cubicBezTo>
                      <a:cubicBezTo>
                        <a:pt x="131" y="20"/>
                        <a:pt x="127" y="22"/>
                        <a:pt x="119" y="19"/>
                      </a:cubicBezTo>
                      <a:cubicBezTo>
                        <a:pt x="106" y="0"/>
                        <a:pt x="74" y="29"/>
                        <a:pt x="67" y="9"/>
                      </a:cubicBezTo>
                      <a:close/>
                    </a:path>
                  </a:pathLst>
                </a:custGeom>
                <a:solidFill>
                  <a:srgbClr val="C0C0C0"/>
                </a:solidFill>
                <a:ln w="6350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>
                  <a:outerShdw dist="28398" dir="3806097" algn="ctr" rotWithShape="0">
                    <a:srgbClr val="333333">
                      <a:alpha val="50000"/>
                    </a:srgbClr>
                  </a:outerShdw>
                </a:effectLst>
              </p:spPr>
              <p:txBody>
                <a:bodyPr/>
                <a:lstStyle/>
                <a:p>
                  <a:pPr>
                    <a:defRPr/>
                  </a:pPr>
                  <a:endParaRPr lang="zh-CN" altLang="en-US"/>
                </a:p>
              </p:txBody>
            </p:sp>
            <p:sp>
              <p:nvSpPr>
                <p:cNvPr id="100" name="Freeform 15"/>
                <p:cNvSpPr>
                  <a:spLocks/>
                </p:cNvSpPr>
                <p:nvPr/>
              </p:nvSpPr>
              <p:spPr bwMode="blackWhite">
                <a:xfrm>
                  <a:off x="1709" y="1987"/>
                  <a:ext cx="44" cy="37"/>
                </a:xfrm>
                <a:custGeom>
                  <a:avLst/>
                  <a:gdLst/>
                  <a:ahLst/>
                  <a:cxnLst>
                    <a:cxn ang="0">
                      <a:pos x="26" y="0"/>
                    </a:cxn>
                    <a:cxn ang="0">
                      <a:pos x="0" y="10"/>
                    </a:cxn>
                    <a:cxn ang="0">
                      <a:pos x="30" y="40"/>
                    </a:cxn>
                    <a:cxn ang="0">
                      <a:pos x="48" y="50"/>
                    </a:cxn>
                    <a:cxn ang="0">
                      <a:pos x="58" y="28"/>
                    </a:cxn>
                    <a:cxn ang="0">
                      <a:pos x="44" y="8"/>
                    </a:cxn>
                    <a:cxn ang="0">
                      <a:pos x="26" y="0"/>
                    </a:cxn>
                  </a:cxnLst>
                  <a:rect l="0" t="0" r="r" b="b"/>
                  <a:pathLst>
                    <a:path w="59" h="50">
                      <a:moveTo>
                        <a:pt x="26" y="0"/>
                      </a:moveTo>
                      <a:cubicBezTo>
                        <a:pt x="13" y="2"/>
                        <a:pt x="7" y="0"/>
                        <a:pt x="0" y="10"/>
                      </a:cubicBezTo>
                      <a:cubicBezTo>
                        <a:pt x="4" y="22"/>
                        <a:pt x="18" y="36"/>
                        <a:pt x="30" y="40"/>
                      </a:cubicBezTo>
                      <a:cubicBezTo>
                        <a:pt x="37" y="42"/>
                        <a:pt x="48" y="50"/>
                        <a:pt x="48" y="50"/>
                      </a:cubicBezTo>
                      <a:cubicBezTo>
                        <a:pt x="57" y="44"/>
                        <a:pt x="55" y="37"/>
                        <a:pt x="58" y="28"/>
                      </a:cubicBezTo>
                      <a:cubicBezTo>
                        <a:pt x="55" y="11"/>
                        <a:pt x="59" y="18"/>
                        <a:pt x="44" y="8"/>
                      </a:cubicBezTo>
                      <a:cubicBezTo>
                        <a:pt x="42" y="6"/>
                        <a:pt x="26" y="5"/>
                        <a:pt x="26" y="0"/>
                      </a:cubicBezTo>
                      <a:close/>
                    </a:path>
                  </a:pathLst>
                </a:custGeom>
                <a:solidFill>
                  <a:srgbClr val="C0C0C0"/>
                </a:solidFill>
                <a:ln w="6350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>
                  <a:outerShdw dist="28398" dir="3806097" algn="ctr" rotWithShape="0">
                    <a:srgbClr val="333333">
                      <a:alpha val="50000"/>
                    </a:srgbClr>
                  </a:outerShdw>
                </a:effectLst>
              </p:spPr>
              <p:txBody>
                <a:bodyPr/>
                <a:lstStyle/>
                <a:p>
                  <a:pPr>
                    <a:defRPr/>
                  </a:pPr>
                  <a:endParaRPr lang="zh-CN" altLang="en-US"/>
                </a:p>
              </p:txBody>
            </p:sp>
            <p:sp>
              <p:nvSpPr>
                <p:cNvPr id="101" name="Freeform 16"/>
                <p:cNvSpPr>
                  <a:spLocks/>
                </p:cNvSpPr>
                <p:nvPr/>
              </p:nvSpPr>
              <p:spPr bwMode="blackWhite">
                <a:xfrm>
                  <a:off x="1625" y="2057"/>
                  <a:ext cx="65" cy="40"/>
                </a:xfrm>
                <a:custGeom>
                  <a:avLst/>
                  <a:gdLst/>
                  <a:ahLst/>
                  <a:cxnLst>
                    <a:cxn ang="0">
                      <a:pos x="44" y="7"/>
                    </a:cxn>
                    <a:cxn ang="0">
                      <a:pos x="24" y="25"/>
                    </a:cxn>
                    <a:cxn ang="0">
                      <a:pos x="4" y="27"/>
                    </a:cxn>
                    <a:cxn ang="0">
                      <a:pos x="16" y="57"/>
                    </a:cxn>
                    <a:cxn ang="0">
                      <a:pos x="74" y="35"/>
                    </a:cxn>
                    <a:cxn ang="0">
                      <a:pos x="86" y="17"/>
                    </a:cxn>
                    <a:cxn ang="0">
                      <a:pos x="56" y="7"/>
                    </a:cxn>
                    <a:cxn ang="0">
                      <a:pos x="44" y="7"/>
                    </a:cxn>
                  </a:cxnLst>
                  <a:rect l="0" t="0" r="r" b="b"/>
                  <a:pathLst>
                    <a:path w="86" h="57">
                      <a:moveTo>
                        <a:pt x="44" y="7"/>
                      </a:moveTo>
                      <a:cubicBezTo>
                        <a:pt x="39" y="14"/>
                        <a:pt x="31" y="20"/>
                        <a:pt x="24" y="25"/>
                      </a:cubicBezTo>
                      <a:cubicBezTo>
                        <a:pt x="16" y="19"/>
                        <a:pt x="12" y="22"/>
                        <a:pt x="4" y="27"/>
                      </a:cubicBezTo>
                      <a:cubicBezTo>
                        <a:pt x="0" y="38"/>
                        <a:pt x="4" y="53"/>
                        <a:pt x="16" y="57"/>
                      </a:cubicBezTo>
                      <a:cubicBezTo>
                        <a:pt x="33" y="51"/>
                        <a:pt x="60" y="45"/>
                        <a:pt x="74" y="35"/>
                      </a:cubicBezTo>
                      <a:cubicBezTo>
                        <a:pt x="78" y="29"/>
                        <a:pt x="86" y="17"/>
                        <a:pt x="86" y="17"/>
                      </a:cubicBezTo>
                      <a:cubicBezTo>
                        <a:pt x="80" y="0"/>
                        <a:pt x="74" y="5"/>
                        <a:pt x="56" y="7"/>
                      </a:cubicBezTo>
                      <a:cubicBezTo>
                        <a:pt x="43" y="11"/>
                        <a:pt x="44" y="15"/>
                        <a:pt x="44" y="7"/>
                      </a:cubicBezTo>
                      <a:close/>
                    </a:path>
                  </a:pathLst>
                </a:custGeom>
                <a:solidFill>
                  <a:srgbClr val="C0C0C0"/>
                </a:solidFill>
                <a:ln w="6350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>
                  <a:outerShdw dist="28398" dir="3806097" algn="ctr" rotWithShape="0">
                    <a:srgbClr val="333333">
                      <a:alpha val="50000"/>
                    </a:srgbClr>
                  </a:outerShdw>
                </a:effectLst>
              </p:spPr>
              <p:txBody>
                <a:bodyPr/>
                <a:lstStyle/>
                <a:p>
                  <a:pPr>
                    <a:defRPr/>
                  </a:pPr>
                  <a:endParaRPr lang="zh-CN" altLang="en-US"/>
                </a:p>
              </p:txBody>
            </p:sp>
            <p:sp>
              <p:nvSpPr>
                <p:cNvPr id="102" name="Freeform 17"/>
                <p:cNvSpPr>
                  <a:spLocks/>
                </p:cNvSpPr>
                <p:nvPr/>
              </p:nvSpPr>
              <p:spPr bwMode="blackWhite">
                <a:xfrm>
                  <a:off x="1693" y="2065"/>
                  <a:ext cx="54" cy="25"/>
                </a:xfrm>
                <a:custGeom>
                  <a:avLst/>
                  <a:gdLst/>
                  <a:ahLst/>
                  <a:cxnLst>
                    <a:cxn ang="0">
                      <a:pos x="40" y="0"/>
                    </a:cxn>
                    <a:cxn ang="0">
                      <a:pos x="10" y="16"/>
                    </a:cxn>
                    <a:cxn ang="0">
                      <a:pos x="24" y="34"/>
                    </a:cxn>
                    <a:cxn ang="0">
                      <a:pos x="52" y="28"/>
                    </a:cxn>
                    <a:cxn ang="0">
                      <a:pos x="64" y="20"/>
                    </a:cxn>
                    <a:cxn ang="0">
                      <a:pos x="40" y="0"/>
                    </a:cxn>
                  </a:cxnLst>
                  <a:rect l="0" t="0" r="r" b="b"/>
                  <a:pathLst>
                    <a:path w="73" h="34">
                      <a:moveTo>
                        <a:pt x="40" y="0"/>
                      </a:moveTo>
                      <a:cubicBezTo>
                        <a:pt x="30" y="6"/>
                        <a:pt x="20" y="10"/>
                        <a:pt x="10" y="16"/>
                      </a:cubicBezTo>
                      <a:cubicBezTo>
                        <a:pt x="0" y="31"/>
                        <a:pt x="13" y="30"/>
                        <a:pt x="24" y="34"/>
                      </a:cubicBezTo>
                      <a:cubicBezTo>
                        <a:pt x="44" y="31"/>
                        <a:pt x="35" y="34"/>
                        <a:pt x="52" y="28"/>
                      </a:cubicBezTo>
                      <a:cubicBezTo>
                        <a:pt x="57" y="26"/>
                        <a:pt x="64" y="20"/>
                        <a:pt x="64" y="20"/>
                      </a:cubicBezTo>
                      <a:cubicBezTo>
                        <a:pt x="73" y="7"/>
                        <a:pt x="48" y="8"/>
                        <a:pt x="40" y="0"/>
                      </a:cubicBezTo>
                      <a:close/>
                    </a:path>
                  </a:pathLst>
                </a:custGeom>
                <a:solidFill>
                  <a:srgbClr val="C0C0C0"/>
                </a:solidFill>
                <a:ln w="6350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>
                  <a:outerShdw dist="28398" dir="3806097" algn="ctr" rotWithShape="0">
                    <a:srgbClr val="333333">
                      <a:alpha val="50000"/>
                    </a:srgbClr>
                  </a:outerShdw>
                </a:effectLst>
              </p:spPr>
              <p:txBody>
                <a:bodyPr/>
                <a:lstStyle/>
                <a:p>
                  <a:pPr>
                    <a:defRPr/>
                  </a:pPr>
                  <a:endParaRPr lang="zh-CN" altLang="en-US"/>
                </a:p>
              </p:txBody>
            </p:sp>
            <p:sp>
              <p:nvSpPr>
                <p:cNvPr id="103" name="Freeform 18"/>
                <p:cNvSpPr>
                  <a:spLocks/>
                </p:cNvSpPr>
                <p:nvPr/>
              </p:nvSpPr>
              <p:spPr bwMode="blackWhite">
                <a:xfrm>
                  <a:off x="1664" y="2029"/>
                  <a:ext cx="64" cy="34"/>
                </a:xfrm>
                <a:custGeom>
                  <a:avLst/>
                  <a:gdLst/>
                  <a:ahLst/>
                  <a:cxnLst>
                    <a:cxn ang="0">
                      <a:pos x="58" y="10"/>
                    </a:cxn>
                    <a:cxn ang="0">
                      <a:pos x="28" y="4"/>
                    </a:cxn>
                    <a:cxn ang="0">
                      <a:pos x="0" y="18"/>
                    </a:cxn>
                    <a:cxn ang="0">
                      <a:pos x="40" y="32"/>
                    </a:cxn>
                    <a:cxn ang="0">
                      <a:pos x="64" y="40"/>
                    </a:cxn>
                    <a:cxn ang="0">
                      <a:pos x="84" y="18"/>
                    </a:cxn>
                    <a:cxn ang="0">
                      <a:pos x="82" y="6"/>
                    </a:cxn>
                    <a:cxn ang="0">
                      <a:pos x="64" y="0"/>
                    </a:cxn>
                    <a:cxn ang="0">
                      <a:pos x="58" y="10"/>
                    </a:cxn>
                  </a:cxnLst>
                  <a:rect l="0" t="0" r="r" b="b"/>
                  <a:pathLst>
                    <a:path w="85" h="45">
                      <a:moveTo>
                        <a:pt x="58" y="10"/>
                      </a:moveTo>
                      <a:cubicBezTo>
                        <a:pt x="39" y="16"/>
                        <a:pt x="45" y="10"/>
                        <a:pt x="28" y="4"/>
                      </a:cubicBezTo>
                      <a:cubicBezTo>
                        <a:pt x="7" y="6"/>
                        <a:pt x="5" y="2"/>
                        <a:pt x="0" y="18"/>
                      </a:cubicBezTo>
                      <a:cubicBezTo>
                        <a:pt x="5" y="34"/>
                        <a:pt x="26" y="31"/>
                        <a:pt x="40" y="32"/>
                      </a:cubicBezTo>
                      <a:cubicBezTo>
                        <a:pt x="50" y="42"/>
                        <a:pt x="49" y="45"/>
                        <a:pt x="64" y="40"/>
                      </a:cubicBezTo>
                      <a:cubicBezTo>
                        <a:pt x="69" y="32"/>
                        <a:pt x="77" y="25"/>
                        <a:pt x="84" y="18"/>
                      </a:cubicBezTo>
                      <a:cubicBezTo>
                        <a:pt x="83" y="14"/>
                        <a:pt x="85" y="9"/>
                        <a:pt x="82" y="6"/>
                      </a:cubicBezTo>
                      <a:cubicBezTo>
                        <a:pt x="78" y="1"/>
                        <a:pt x="64" y="0"/>
                        <a:pt x="64" y="0"/>
                      </a:cubicBezTo>
                      <a:cubicBezTo>
                        <a:pt x="56" y="3"/>
                        <a:pt x="47" y="21"/>
                        <a:pt x="58" y="10"/>
                      </a:cubicBezTo>
                      <a:close/>
                    </a:path>
                  </a:pathLst>
                </a:custGeom>
                <a:solidFill>
                  <a:srgbClr val="C0C0C0"/>
                </a:solidFill>
                <a:ln w="6350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>
                  <a:outerShdw dist="28398" dir="3806097" algn="ctr" rotWithShape="0">
                    <a:srgbClr val="333333">
                      <a:alpha val="50000"/>
                    </a:srgbClr>
                  </a:outerShdw>
                </a:effectLst>
              </p:spPr>
              <p:txBody>
                <a:bodyPr/>
                <a:lstStyle/>
                <a:p>
                  <a:pPr>
                    <a:defRPr/>
                  </a:pPr>
                  <a:endParaRPr lang="zh-CN" altLang="en-US"/>
                </a:p>
              </p:txBody>
            </p:sp>
            <p:sp>
              <p:nvSpPr>
                <p:cNvPr id="104" name="Freeform 19"/>
                <p:cNvSpPr>
                  <a:spLocks/>
                </p:cNvSpPr>
                <p:nvPr/>
              </p:nvSpPr>
              <p:spPr bwMode="blackWhite">
                <a:xfrm>
                  <a:off x="1636" y="1997"/>
                  <a:ext cx="45" cy="25"/>
                </a:xfrm>
                <a:custGeom>
                  <a:avLst/>
                  <a:gdLst/>
                  <a:ahLst/>
                  <a:cxnLst>
                    <a:cxn ang="0">
                      <a:pos x="16" y="4"/>
                    </a:cxn>
                    <a:cxn ang="0">
                      <a:pos x="0" y="18"/>
                    </a:cxn>
                    <a:cxn ang="0">
                      <a:pos x="20" y="28"/>
                    </a:cxn>
                    <a:cxn ang="0">
                      <a:pos x="28" y="20"/>
                    </a:cxn>
                    <a:cxn ang="0">
                      <a:pos x="52" y="12"/>
                    </a:cxn>
                    <a:cxn ang="0">
                      <a:pos x="44" y="0"/>
                    </a:cxn>
                    <a:cxn ang="0">
                      <a:pos x="16" y="4"/>
                    </a:cxn>
                  </a:cxnLst>
                  <a:rect l="0" t="0" r="r" b="b"/>
                  <a:pathLst>
                    <a:path w="58" h="31">
                      <a:moveTo>
                        <a:pt x="16" y="4"/>
                      </a:moveTo>
                      <a:cubicBezTo>
                        <a:pt x="2" y="13"/>
                        <a:pt x="7" y="8"/>
                        <a:pt x="0" y="18"/>
                      </a:cubicBezTo>
                      <a:cubicBezTo>
                        <a:pt x="5" y="26"/>
                        <a:pt x="11" y="25"/>
                        <a:pt x="20" y="28"/>
                      </a:cubicBezTo>
                      <a:cubicBezTo>
                        <a:pt x="36" y="23"/>
                        <a:pt x="17" y="31"/>
                        <a:pt x="28" y="20"/>
                      </a:cubicBezTo>
                      <a:cubicBezTo>
                        <a:pt x="33" y="15"/>
                        <a:pt x="46" y="13"/>
                        <a:pt x="52" y="12"/>
                      </a:cubicBezTo>
                      <a:cubicBezTo>
                        <a:pt x="58" y="3"/>
                        <a:pt x="53" y="3"/>
                        <a:pt x="44" y="0"/>
                      </a:cubicBezTo>
                      <a:cubicBezTo>
                        <a:pt x="38" y="1"/>
                        <a:pt x="20" y="8"/>
                        <a:pt x="16" y="4"/>
                      </a:cubicBezTo>
                      <a:close/>
                    </a:path>
                  </a:pathLst>
                </a:custGeom>
                <a:solidFill>
                  <a:srgbClr val="C0C0C0"/>
                </a:solidFill>
                <a:ln w="6350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>
                  <a:outerShdw dist="28398" dir="3806097" algn="ctr" rotWithShape="0">
                    <a:srgbClr val="333333">
                      <a:alpha val="50000"/>
                    </a:srgbClr>
                  </a:outerShdw>
                </a:effectLst>
              </p:spPr>
              <p:txBody>
                <a:bodyPr/>
                <a:lstStyle/>
                <a:p>
                  <a:pPr>
                    <a:defRPr/>
                  </a:pPr>
                  <a:endParaRPr lang="zh-CN" altLang="en-US"/>
                </a:p>
              </p:txBody>
            </p:sp>
            <p:sp>
              <p:nvSpPr>
                <p:cNvPr id="105" name="Freeform 20"/>
                <p:cNvSpPr>
                  <a:spLocks/>
                </p:cNvSpPr>
                <p:nvPr/>
              </p:nvSpPr>
              <p:spPr bwMode="blackWhite">
                <a:xfrm>
                  <a:off x="1751" y="2000"/>
                  <a:ext cx="114" cy="77"/>
                </a:xfrm>
                <a:custGeom>
                  <a:avLst/>
                  <a:gdLst/>
                  <a:ahLst/>
                  <a:cxnLst>
                    <a:cxn ang="0">
                      <a:pos x="38" y="0"/>
                    </a:cxn>
                    <a:cxn ang="0">
                      <a:pos x="14" y="6"/>
                    </a:cxn>
                    <a:cxn ang="0">
                      <a:pos x="4" y="38"/>
                    </a:cxn>
                    <a:cxn ang="0">
                      <a:pos x="12" y="56"/>
                    </a:cxn>
                    <a:cxn ang="0">
                      <a:pos x="0" y="72"/>
                    </a:cxn>
                    <a:cxn ang="0">
                      <a:pos x="56" y="86"/>
                    </a:cxn>
                    <a:cxn ang="0">
                      <a:pos x="82" y="92"/>
                    </a:cxn>
                    <a:cxn ang="0">
                      <a:pos x="152" y="86"/>
                    </a:cxn>
                    <a:cxn ang="0">
                      <a:pos x="76" y="70"/>
                    </a:cxn>
                    <a:cxn ang="0">
                      <a:pos x="54" y="62"/>
                    </a:cxn>
                    <a:cxn ang="0">
                      <a:pos x="44" y="52"/>
                    </a:cxn>
                    <a:cxn ang="0">
                      <a:pos x="50" y="34"/>
                    </a:cxn>
                    <a:cxn ang="0">
                      <a:pos x="38" y="0"/>
                    </a:cxn>
                  </a:cxnLst>
                  <a:rect l="0" t="0" r="r" b="b"/>
                  <a:pathLst>
                    <a:path w="152" h="102">
                      <a:moveTo>
                        <a:pt x="38" y="0"/>
                      </a:moveTo>
                      <a:cubicBezTo>
                        <a:pt x="22" y="5"/>
                        <a:pt x="30" y="3"/>
                        <a:pt x="14" y="6"/>
                      </a:cubicBezTo>
                      <a:cubicBezTo>
                        <a:pt x="18" y="22"/>
                        <a:pt x="22" y="32"/>
                        <a:pt x="4" y="38"/>
                      </a:cubicBezTo>
                      <a:cubicBezTo>
                        <a:pt x="1" y="47"/>
                        <a:pt x="7" y="49"/>
                        <a:pt x="12" y="56"/>
                      </a:cubicBezTo>
                      <a:cubicBezTo>
                        <a:pt x="10" y="65"/>
                        <a:pt x="9" y="69"/>
                        <a:pt x="0" y="72"/>
                      </a:cubicBezTo>
                      <a:cubicBezTo>
                        <a:pt x="5" y="88"/>
                        <a:pt x="45" y="85"/>
                        <a:pt x="56" y="86"/>
                      </a:cubicBezTo>
                      <a:cubicBezTo>
                        <a:pt x="72" y="97"/>
                        <a:pt x="63" y="95"/>
                        <a:pt x="82" y="92"/>
                      </a:cubicBezTo>
                      <a:cubicBezTo>
                        <a:pt x="86" y="92"/>
                        <a:pt x="147" y="102"/>
                        <a:pt x="152" y="86"/>
                      </a:cubicBezTo>
                      <a:cubicBezTo>
                        <a:pt x="123" y="66"/>
                        <a:pt x="128" y="72"/>
                        <a:pt x="76" y="70"/>
                      </a:cubicBezTo>
                      <a:cubicBezTo>
                        <a:pt x="62" y="56"/>
                        <a:pt x="81" y="73"/>
                        <a:pt x="54" y="62"/>
                      </a:cubicBezTo>
                      <a:cubicBezTo>
                        <a:pt x="50" y="60"/>
                        <a:pt x="48" y="55"/>
                        <a:pt x="44" y="52"/>
                      </a:cubicBezTo>
                      <a:cubicBezTo>
                        <a:pt x="41" y="43"/>
                        <a:pt x="42" y="39"/>
                        <a:pt x="50" y="34"/>
                      </a:cubicBezTo>
                      <a:cubicBezTo>
                        <a:pt x="52" y="27"/>
                        <a:pt x="42" y="9"/>
                        <a:pt x="38" y="0"/>
                      </a:cubicBezTo>
                      <a:close/>
                    </a:path>
                  </a:pathLst>
                </a:custGeom>
                <a:solidFill>
                  <a:srgbClr val="C0C0C0"/>
                </a:solidFill>
                <a:ln w="6350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>
                  <a:outerShdw dist="28398" dir="3806097" algn="ctr" rotWithShape="0">
                    <a:srgbClr val="333333">
                      <a:alpha val="50000"/>
                    </a:srgbClr>
                  </a:outerShdw>
                </a:effectLst>
              </p:spPr>
              <p:txBody>
                <a:bodyPr/>
                <a:lstStyle/>
                <a:p>
                  <a:pPr>
                    <a:defRPr/>
                  </a:pPr>
                  <a:endParaRPr lang="zh-CN" altLang="en-US"/>
                </a:p>
              </p:txBody>
            </p:sp>
            <p:sp>
              <p:nvSpPr>
                <p:cNvPr id="106" name="Freeform 21"/>
                <p:cNvSpPr>
                  <a:spLocks/>
                </p:cNvSpPr>
                <p:nvPr/>
              </p:nvSpPr>
              <p:spPr bwMode="blackWhite">
                <a:xfrm>
                  <a:off x="664" y="2245"/>
                  <a:ext cx="25" cy="15"/>
                </a:xfrm>
                <a:custGeom>
                  <a:avLst/>
                  <a:gdLst/>
                  <a:ahLst/>
                  <a:cxnLst>
                    <a:cxn ang="0">
                      <a:pos x="34" y="0"/>
                    </a:cxn>
                    <a:cxn ang="0">
                      <a:pos x="24" y="20"/>
                    </a:cxn>
                    <a:cxn ang="0">
                      <a:pos x="4" y="18"/>
                    </a:cxn>
                    <a:cxn ang="0">
                      <a:pos x="4" y="6"/>
                    </a:cxn>
                    <a:cxn ang="0">
                      <a:pos x="34" y="0"/>
                    </a:cxn>
                  </a:cxnLst>
                  <a:rect l="0" t="0" r="r" b="b"/>
                  <a:pathLst>
                    <a:path w="34" h="20">
                      <a:moveTo>
                        <a:pt x="34" y="0"/>
                      </a:moveTo>
                      <a:cubicBezTo>
                        <a:pt x="32" y="10"/>
                        <a:pt x="34" y="17"/>
                        <a:pt x="24" y="20"/>
                      </a:cubicBezTo>
                      <a:cubicBezTo>
                        <a:pt x="17" y="19"/>
                        <a:pt x="10" y="20"/>
                        <a:pt x="4" y="18"/>
                      </a:cubicBezTo>
                      <a:cubicBezTo>
                        <a:pt x="0" y="17"/>
                        <a:pt x="2" y="7"/>
                        <a:pt x="4" y="6"/>
                      </a:cubicBezTo>
                      <a:cubicBezTo>
                        <a:pt x="12" y="0"/>
                        <a:pt x="24" y="0"/>
                        <a:pt x="34" y="0"/>
                      </a:cubicBezTo>
                      <a:close/>
                    </a:path>
                  </a:pathLst>
                </a:custGeom>
                <a:solidFill>
                  <a:srgbClr val="C0C0C0"/>
                </a:solidFill>
                <a:ln w="6350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>
                  <a:outerShdw dist="28398" dir="3806097" algn="ctr" rotWithShape="0">
                    <a:srgbClr val="333333">
                      <a:alpha val="50000"/>
                    </a:srgbClr>
                  </a:outerShdw>
                </a:effectLst>
              </p:spPr>
              <p:txBody>
                <a:bodyPr/>
                <a:lstStyle/>
                <a:p>
                  <a:pPr>
                    <a:defRPr/>
                  </a:pPr>
                  <a:endParaRPr lang="zh-CN" altLang="en-US"/>
                </a:p>
              </p:txBody>
            </p:sp>
            <p:sp>
              <p:nvSpPr>
                <p:cNvPr id="107" name="Freeform 22"/>
                <p:cNvSpPr>
                  <a:spLocks/>
                </p:cNvSpPr>
                <p:nvPr/>
              </p:nvSpPr>
              <p:spPr bwMode="blackWhite">
                <a:xfrm>
                  <a:off x="1421" y="2756"/>
                  <a:ext cx="17" cy="1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3" y="16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21" h="16">
                      <a:moveTo>
                        <a:pt x="3" y="0"/>
                      </a:moveTo>
                      <a:cubicBezTo>
                        <a:pt x="0" y="9"/>
                        <a:pt x="6" y="11"/>
                        <a:pt x="13" y="16"/>
                      </a:cubicBezTo>
                      <a:cubicBezTo>
                        <a:pt x="21" y="4"/>
                        <a:pt x="16" y="2"/>
                        <a:pt x="3" y="0"/>
                      </a:cubicBezTo>
                      <a:close/>
                    </a:path>
                  </a:pathLst>
                </a:custGeom>
                <a:solidFill>
                  <a:srgbClr val="C0C0C0"/>
                </a:solidFill>
                <a:ln w="6350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>
                  <a:outerShdw dist="28398" dir="3806097" algn="ctr" rotWithShape="0">
                    <a:srgbClr val="333333">
                      <a:alpha val="50000"/>
                    </a:srgbClr>
                  </a:outerShdw>
                </a:effectLst>
              </p:spPr>
              <p:txBody>
                <a:bodyPr/>
                <a:lstStyle/>
                <a:p>
                  <a:pPr>
                    <a:defRPr/>
                  </a:pPr>
                  <a:endParaRPr lang="zh-CN" altLang="en-US"/>
                </a:p>
              </p:txBody>
            </p:sp>
            <p:sp>
              <p:nvSpPr>
                <p:cNvPr id="108" name="Freeform 23"/>
                <p:cNvSpPr>
                  <a:spLocks/>
                </p:cNvSpPr>
                <p:nvPr/>
              </p:nvSpPr>
              <p:spPr bwMode="blackWhite">
                <a:xfrm>
                  <a:off x="1424" y="2781"/>
                  <a:ext cx="16" cy="1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3" y="16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21" h="16">
                      <a:moveTo>
                        <a:pt x="3" y="0"/>
                      </a:moveTo>
                      <a:cubicBezTo>
                        <a:pt x="0" y="9"/>
                        <a:pt x="6" y="11"/>
                        <a:pt x="13" y="16"/>
                      </a:cubicBezTo>
                      <a:cubicBezTo>
                        <a:pt x="21" y="4"/>
                        <a:pt x="16" y="2"/>
                        <a:pt x="3" y="0"/>
                      </a:cubicBezTo>
                      <a:close/>
                    </a:path>
                  </a:pathLst>
                </a:custGeom>
                <a:solidFill>
                  <a:srgbClr val="C0C0C0"/>
                </a:solidFill>
                <a:ln w="6350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>
                  <a:outerShdw dist="28398" dir="3806097" algn="ctr" rotWithShape="0">
                    <a:srgbClr val="333333">
                      <a:alpha val="50000"/>
                    </a:srgbClr>
                  </a:outerShdw>
                </a:effectLst>
              </p:spPr>
              <p:txBody>
                <a:bodyPr/>
                <a:lstStyle/>
                <a:p>
                  <a:pPr>
                    <a:defRPr/>
                  </a:pPr>
                  <a:endParaRPr lang="zh-CN" altLang="en-US"/>
                </a:p>
              </p:txBody>
            </p:sp>
            <p:sp>
              <p:nvSpPr>
                <p:cNvPr id="109" name="Freeform 24"/>
                <p:cNvSpPr>
                  <a:spLocks/>
                </p:cNvSpPr>
                <p:nvPr/>
              </p:nvSpPr>
              <p:spPr bwMode="blackWhite">
                <a:xfrm>
                  <a:off x="1628" y="2913"/>
                  <a:ext cx="17" cy="1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3" y="16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21" h="16">
                      <a:moveTo>
                        <a:pt x="3" y="0"/>
                      </a:moveTo>
                      <a:cubicBezTo>
                        <a:pt x="0" y="9"/>
                        <a:pt x="6" y="11"/>
                        <a:pt x="13" y="16"/>
                      </a:cubicBezTo>
                      <a:cubicBezTo>
                        <a:pt x="21" y="4"/>
                        <a:pt x="16" y="2"/>
                        <a:pt x="3" y="0"/>
                      </a:cubicBezTo>
                      <a:close/>
                    </a:path>
                  </a:pathLst>
                </a:custGeom>
                <a:solidFill>
                  <a:srgbClr val="C0C0C0"/>
                </a:solidFill>
                <a:ln w="6350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>
                  <a:outerShdw dist="28398" dir="3806097" algn="ctr" rotWithShape="0">
                    <a:srgbClr val="333333">
                      <a:alpha val="50000"/>
                    </a:srgbClr>
                  </a:outerShdw>
                </a:effectLst>
              </p:spPr>
              <p:txBody>
                <a:bodyPr/>
                <a:lstStyle/>
                <a:p>
                  <a:pPr>
                    <a:defRPr/>
                  </a:pPr>
                  <a:endParaRPr lang="zh-CN" altLang="en-US"/>
                </a:p>
              </p:txBody>
            </p:sp>
            <p:sp>
              <p:nvSpPr>
                <p:cNvPr id="110" name="Freeform 25"/>
                <p:cNvSpPr>
                  <a:spLocks/>
                </p:cNvSpPr>
                <p:nvPr/>
              </p:nvSpPr>
              <p:spPr bwMode="blackWhite">
                <a:xfrm>
                  <a:off x="1752" y="2428"/>
                  <a:ext cx="38" cy="19"/>
                </a:xfrm>
                <a:custGeom>
                  <a:avLst/>
                  <a:gdLst/>
                  <a:ahLst/>
                  <a:cxnLst>
                    <a:cxn ang="0">
                      <a:pos x="13" y="0"/>
                    </a:cxn>
                    <a:cxn ang="0">
                      <a:pos x="7" y="18"/>
                    </a:cxn>
                    <a:cxn ang="0">
                      <a:pos x="27" y="24"/>
                    </a:cxn>
                    <a:cxn ang="0">
                      <a:pos x="33" y="4"/>
                    </a:cxn>
                    <a:cxn ang="0">
                      <a:pos x="13" y="0"/>
                    </a:cxn>
                  </a:cxnLst>
                  <a:rect l="0" t="0" r="r" b="b"/>
                  <a:pathLst>
                    <a:path w="51" h="24">
                      <a:moveTo>
                        <a:pt x="13" y="0"/>
                      </a:moveTo>
                      <a:cubicBezTo>
                        <a:pt x="12" y="2"/>
                        <a:pt x="0" y="12"/>
                        <a:pt x="7" y="18"/>
                      </a:cubicBezTo>
                      <a:cubicBezTo>
                        <a:pt x="12" y="22"/>
                        <a:pt x="27" y="24"/>
                        <a:pt x="27" y="24"/>
                      </a:cubicBezTo>
                      <a:cubicBezTo>
                        <a:pt x="44" y="22"/>
                        <a:pt x="51" y="16"/>
                        <a:pt x="33" y="4"/>
                      </a:cubicBezTo>
                      <a:cubicBezTo>
                        <a:pt x="29" y="1"/>
                        <a:pt x="14" y="0"/>
                        <a:pt x="13" y="0"/>
                      </a:cubicBezTo>
                      <a:close/>
                    </a:path>
                  </a:pathLst>
                </a:custGeom>
                <a:solidFill>
                  <a:srgbClr val="C0C0C0"/>
                </a:solidFill>
                <a:ln w="6350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>
                  <a:outerShdw dist="28398" dir="3806097" algn="ctr" rotWithShape="0">
                    <a:srgbClr val="333333">
                      <a:alpha val="50000"/>
                    </a:srgbClr>
                  </a:outerShdw>
                </a:effectLst>
              </p:spPr>
              <p:txBody>
                <a:bodyPr/>
                <a:lstStyle/>
                <a:p>
                  <a:pPr>
                    <a:defRPr/>
                  </a:pPr>
                  <a:endParaRPr lang="zh-CN" altLang="en-US"/>
                </a:p>
              </p:txBody>
            </p:sp>
            <p:sp>
              <p:nvSpPr>
                <p:cNvPr id="111" name="Freeform 26"/>
                <p:cNvSpPr>
                  <a:spLocks/>
                </p:cNvSpPr>
                <p:nvPr/>
              </p:nvSpPr>
              <p:spPr bwMode="blackWhite">
                <a:xfrm>
                  <a:off x="1652" y="2224"/>
                  <a:ext cx="38" cy="18"/>
                </a:xfrm>
                <a:custGeom>
                  <a:avLst/>
                  <a:gdLst/>
                  <a:ahLst/>
                  <a:cxnLst>
                    <a:cxn ang="0">
                      <a:pos x="13" y="0"/>
                    </a:cxn>
                    <a:cxn ang="0">
                      <a:pos x="7" y="18"/>
                    </a:cxn>
                    <a:cxn ang="0">
                      <a:pos x="27" y="24"/>
                    </a:cxn>
                    <a:cxn ang="0">
                      <a:pos x="33" y="4"/>
                    </a:cxn>
                    <a:cxn ang="0">
                      <a:pos x="13" y="0"/>
                    </a:cxn>
                  </a:cxnLst>
                  <a:rect l="0" t="0" r="r" b="b"/>
                  <a:pathLst>
                    <a:path w="51" h="24">
                      <a:moveTo>
                        <a:pt x="13" y="0"/>
                      </a:moveTo>
                      <a:cubicBezTo>
                        <a:pt x="12" y="2"/>
                        <a:pt x="0" y="12"/>
                        <a:pt x="7" y="18"/>
                      </a:cubicBezTo>
                      <a:cubicBezTo>
                        <a:pt x="12" y="22"/>
                        <a:pt x="27" y="24"/>
                        <a:pt x="27" y="24"/>
                      </a:cubicBezTo>
                      <a:cubicBezTo>
                        <a:pt x="44" y="22"/>
                        <a:pt x="51" y="16"/>
                        <a:pt x="33" y="4"/>
                      </a:cubicBezTo>
                      <a:cubicBezTo>
                        <a:pt x="29" y="1"/>
                        <a:pt x="14" y="0"/>
                        <a:pt x="13" y="0"/>
                      </a:cubicBezTo>
                      <a:close/>
                    </a:path>
                  </a:pathLst>
                </a:custGeom>
                <a:solidFill>
                  <a:srgbClr val="C0C0C0"/>
                </a:solidFill>
                <a:ln w="6350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>
                  <a:outerShdw dist="28398" dir="3806097" algn="ctr" rotWithShape="0">
                    <a:srgbClr val="333333">
                      <a:alpha val="50000"/>
                    </a:srgbClr>
                  </a:outerShdw>
                </a:effectLst>
              </p:spPr>
              <p:txBody>
                <a:bodyPr/>
                <a:lstStyle/>
                <a:p>
                  <a:pPr>
                    <a:defRPr/>
                  </a:pPr>
                  <a:endParaRPr lang="zh-CN" altLang="en-US"/>
                </a:p>
              </p:txBody>
            </p:sp>
            <p:sp>
              <p:nvSpPr>
                <p:cNvPr id="112" name="Freeform 27"/>
                <p:cNvSpPr>
                  <a:spLocks/>
                </p:cNvSpPr>
                <p:nvPr/>
              </p:nvSpPr>
              <p:spPr bwMode="blackWhite">
                <a:xfrm>
                  <a:off x="1717" y="2045"/>
                  <a:ext cx="39" cy="18"/>
                </a:xfrm>
                <a:custGeom>
                  <a:avLst/>
                  <a:gdLst/>
                  <a:ahLst/>
                  <a:cxnLst>
                    <a:cxn ang="0">
                      <a:pos x="13" y="0"/>
                    </a:cxn>
                    <a:cxn ang="0">
                      <a:pos x="7" y="18"/>
                    </a:cxn>
                    <a:cxn ang="0">
                      <a:pos x="27" y="24"/>
                    </a:cxn>
                    <a:cxn ang="0">
                      <a:pos x="33" y="4"/>
                    </a:cxn>
                    <a:cxn ang="0">
                      <a:pos x="13" y="0"/>
                    </a:cxn>
                  </a:cxnLst>
                  <a:rect l="0" t="0" r="r" b="b"/>
                  <a:pathLst>
                    <a:path w="51" h="24">
                      <a:moveTo>
                        <a:pt x="13" y="0"/>
                      </a:moveTo>
                      <a:cubicBezTo>
                        <a:pt x="12" y="2"/>
                        <a:pt x="0" y="12"/>
                        <a:pt x="7" y="18"/>
                      </a:cubicBezTo>
                      <a:cubicBezTo>
                        <a:pt x="12" y="22"/>
                        <a:pt x="27" y="24"/>
                        <a:pt x="27" y="24"/>
                      </a:cubicBezTo>
                      <a:cubicBezTo>
                        <a:pt x="44" y="22"/>
                        <a:pt x="51" y="16"/>
                        <a:pt x="33" y="4"/>
                      </a:cubicBezTo>
                      <a:cubicBezTo>
                        <a:pt x="29" y="1"/>
                        <a:pt x="14" y="0"/>
                        <a:pt x="13" y="0"/>
                      </a:cubicBezTo>
                      <a:close/>
                    </a:path>
                  </a:pathLst>
                </a:custGeom>
                <a:solidFill>
                  <a:srgbClr val="C0C0C0"/>
                </a:solidFill>
                <a:ln w="6350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>
                  <a:outerShdw dist="28398" dir="3806097" algn="ctr" rotWithShape="0">
                    <a:srgbClr val="333333">
                      <a:alpha val="50000"/>
                    </a:srgbClr>
                  </a:outerShdw>
                </a:effectLst>
              </p:spPr>
              <p:txBody>
                <a:bodyPr/>
                <a:lstStyle/>
                <a:p>
                  <a:pPr>
                    <a:defRPr/>
                  </a:pPr>
                  <a:endParaRPr lang="zh-CN" altLang="en-US"/>
                </a:p>
              </p:txBody>
            </p:sp>
            <p:sp>
              <p:nvSpPr>
                <p:cNvPr id="113" name="Freeform 28"/>
                <p:cNvSpPr>
                  <a:spLocks/>
                </p:cNvSpPr>
                <p:nvPr/>
              </p:nvSpPr>
              <p:spPr bwMode="blackWhite">
                <a:xfrm>
                  <a:off x="1780" y="2153"/>
                  <a:ext cx="38" cy="18"/>
                </a:xfrm>
                <a:custGeom>
                  <a:avLst/>
                  <a:gdLst/>
                  <a:ahLst/>
                  <a:cxnLst>
                    <a:cxn ang="0">
                      <a:pos x="13" y="0"/>
                    </a:cxn>
                    <a:cxn ang="0">
                      <a:pos x="7" y="18"/>
                    </a:cxn>
                    <a:cxn ang="0">
                      <a:pos x="27" y="24"/>
                    </a:cxn>
                    <a:cxn ang="0">
                      <a:pos x="33" y="4"/>
                    </a:cxn>
                    <a:cxn ang="0">
                      <a:pos x="13" y="0"/>
                    </a:cxn>
                  </a:cxnLst>
                  <a:rect l="0" t="0" r="r" b="b"/>
                  <a:pathLst>
                    <a:path w="51" h="24">
                      <a:moveTo>
                        <a:pt x="13" y="0"/>
                      </a:moveTo>
                      <a:cubicBezTo>
                        <a:pt x="12" y="2"/>
                        <a:pt x="0" y="12"/>
                        <a:pt x="7" y="18"/>
                      </a:cubicBezTo>
                      <a:cubicBezTo>
                        <a:pt x="12" y="22"/>
                        <a:pt x="27" y="24"/>
                        <a:pt x="27" y="24"/>
                      </a:cubicBezTo>
                      <a:cubicBezTo>
                        <a:pt x="44" y="22"/>
                        <a:pt x="51" y="16"/>
                        <a:pt x="33" y="4"/>
                      </a:cubicBezTo>
                      <a:cubicBezTo>
                        <a:pt x="29" y="1"/>
                        <a:pt x="14" y="0"/>
                        <a:pt x="13" y="0"/>
                      </a:cubicBezTo>
                      <a:close/>
                    </a:path>
                  </a:pathLst>
                </a:custGeom>
                <a:solidFill>
                  <a:srgbClr val="C0C0C0"/>
                </a:solidFill>
                <a:ln w="6350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>
                  <a:outerShdw dist="28398" dir="3806097" algn="ctr" rotWithShape="0">
                    <a:srgbClr val="333333">
                      <a:alpha val="50000"/>
                    </a:srgbClr>
                  </a:outerShdw>
                </a:effectLst>
              </p:spPr>
              <p:txBody>
                <a:bodyPr/>
                <a:lstStyle/>
                <a:p>
                  <a:pPr>
                    <a:defRPr/>
                  </a:pPr>
                  <a:endParaRPr lang="zh-CN" altLang="en-US"/>
                </a:p>
              </p:txBody>
            </p:sp>
            <p:sp>
              <p:nvSpPr>
                <p:cNvPr id="117" name="Freeform 29"/>
                <p:cNvSpPr>
                  <a:spLocks/>
                </p:cNvSpPr>
                <p:nvPr/>
              </p:nvSpPr>
              <p:spPr bwMode="blackWhite">
                <a:xfrm>
                  <a:off x="1796" y="1951"/>
                  <a:ext cx="694" cy="346"/>
                </a:xfrm>
                <a:custGeom>
                  <a:avLst/>
                  <a:gdLst/>
                  <a:ahLst/>
                  <a:cxnLst>
                    <a:cxn ang="0">
                      <a:pos x="28" y="56"/>
                    </a:cxn>
                    <a:cxn ang="0">
                      <a:pos x="6" y="92"/>
                    </a:cxn>
                    <a:cxn ang="0">
                      <a:pos x="36" y="100"/>
                    </a:cxn>
                    <a:cxn ang="0">
                      <a:pos x="16" y="116"/>
                    </a:cxn>
                    <a:cxn ang="0">
                      <a:pos x="104" y="136"/>
                    </a:cxn>
                    <a:cxn ang="0">
                      <a:pos x="142" y="130"/>
                    </a:cxn>
                    <a:cxn ang="0">
                      <a:pos x="250" y="78"/>
                    </a:cxn>
                    <a:cxn ang="0">
                      <a:pos x="300" y="66"/>
                    </a:cxn>
                    <a:cxn ang="0">
                      <a:pos x="324" y="80"/>
                    </a:cxn>
                    <a:cxn ang="0">
                      <a:pos x="272" y="88"/>
                    </a:cxn>
                    <a:cxn ang="0">
                      <a:pos x="242" y="112"/>
                    </a:cxn>
                    <a:cxn ang="0">
                      <a:pos x="254" y="120"/>
                    </a:cxn>
                    <a:cxn ang="0">
                      <a:pos x="260" y="158"/>
                    </a:cxn>
                    <a:cxn ang="0">
                      <a:pos x="350" y="192"/>
                    </a:cxn>
                    <a:cxn ang="0">
                      <a:pos x="336" y="210"/>
                    </a:cxn>
                    <a:cxn ang="0">
                      <a:pos x="368" y="246"/>
                    </a:cxn>
                    <a:cxn ang="0">
                      <a:pos x="348" y="266"/>
                    </a:cxn>
                    <a:cxn ang="0">
                      <a:pos x="324" y="294"/>
                    </a:cxn>
                    <a:cxn ang="0">
                      <a:pos x="294" y="324"/>
                    </a:cxn>
                    <a:cxn ang="0">
                      <a:pos x="292" y="420"/>
                    </a:cxn>
                    <a:cxn ang="0">
                      <a:pos x="332" y="446"/>
                    </a:cxn>
                    <a:cxn ang="0">
                      <a:pos x="388" y="448"/>
                    </a:cxn>
                    <a:cxn ang="0">
                      <a:pos x="412" y="422"/>
                    </a:cxn>
                    <a:cxn ang="0">
                      <a:pos x="506" y="356"/>
                    </a:cxn>
                    <a:cxn ang="0">
                      <a:pos x="572" y="334"/>
                    </a:cxn>
                    <a:cxn ang="0">
                      <a:pos x="646" y="308"/>
                    </a:cxn>
                    <a:cxn ang="0">
                      <a:pos x="720" y="290"/>
                    </a:cxn>
                    <a:cxn ang="0">
                      <a:pos x="762" y="260"/>
                    </a:cxn>
                    <a:cxn ang="0">
                      <a:pos x="800" y="200"/>
                    </a:cxn>
                    <a:cxn ang="0">
                      <a:pos x="802" y="154"/>
                    </a:cxn>
                    <a:cxn ang="0">
                      <a:pos x="802" y="124"/>
                    </a:cxn>
                    <a:cxn ang="0">
                      <a:pos x="832" y="90"/>
                    </a:cxn>
                    <a:cxn ang="0">
                      <a:pos x="876" y="94"/>
                    </a:cxn>
                    <a:cxn ang="0">
                      <a:pos x="922" y="52"/>
                    </a:cxn>
                    <a:cxn ang="0">
                      <a:pos x="888" y="56"/>
                    </a:cxn>
                    <a:cxn ang="0">
                      <a:pos x="848" y="46"/>
                    </a:cxn>
                    <a:cxn ang="0">
                      <a:pos x="794" y="22"/>
                    </a:cxn>
                    <a:cxn ang="0">
                      <a:pos x="642" y="26"/>
                    </a:cxn>
                    <a:cxn ang="0">
                      <a:pos x="584" y="38"/>
                    </a:cxn>
                    <a:cxn ang="0">
                      <a:pos x="556" y="38"/>
                    </a:cxn>
                    <a:cxn ang="0">
                      <a:pos x="516" y="54"/>
                    </a:cxn>
                    <a:cxn ang="0">
                      <a:pos x="478" y="30"/>
                    </a:cxn>
                    <a:cxn ang="0">
                      <a:pos x="432" y="40"/>
                    </a:cxn>
                    <a:cxn ang="0">
                      <a:pos x="366" y="52"/>
                    </a:cxn>
                    <a:cxn ang="0">
                      <a:pos x="410" y="38"/>
                    </a:cxn>
                    <a:cxn ang="0">
                      <a:pos x="352" y="8"/>
                    </a:cxn>
                    <a:cxn ang="0">
                      <a:pos x="334" y="2"/>
                    </a:cxn>
                    <a:cxn ang="0">
                      <a:pos x="314" y="8"/>
                    </a:cxn>
                    <a:cxn ang="0">
                      <a:pos x="240" y="16"/>
                    </a:cxn>
                    <a:cxn ang="0">
                      <a:pos x="160" y="28"/>
                    </a:cxn>
                    <a:cxn ang="0">
                      <a:pos x="108" y="26"/>
                    </a:cxn>
                    <a:cxn ang="0">
                      <a:pos x="114" y="68"/>
                    </a:cxn>
                    <a:cxn ang="0">
                      <a:pos x="104" y="52"/>
                    </a:cxn>
                    <a:cxn ang="0">
                      <a:pos x="60" y="42"/>
                    </a:cxn>
                  </a:cxnLst>
                  <a:rect l="0" t="0" r="r" b="b"/>
                  <a:pathLst>
                    <a:path w="929" h="462">
                      <a:moveTo>
                        <a:pt x="60" y="42"/>
                      </a:moveTo>
                      <a:cubicBezTo>
                        <a:pt x="40" y="45"/>
                        <a:pt x="42" y="46"/>
                        <a:pt x="28" y="56"/>
                      </a:cubicBezTo>
                      <a:cubicBezTo>
                        <a:pt x="26" y="74"/>
                        <a:pt x="27" y="75"/>
                        <a:pt x="10" y="78"/>
                      </a:cubicBezTo>
                      <a:cubicBezTo>
                        <a:pt x="4" y="82"/>
                        <a:pt x="0" y="82"/>
                        <a:pt x="6" y="92"/>
                      </a:cubicBezTo>
                      <a:cubicBezTo>
                        <a:pt x="10" y="98"/>
                        <a:pt x="21" y="96"/>
                        <a:pt x="28" y="98"/>
                      </a:cubicBezTo>
                      <a:cubicBezTo>
                        <a:pt x="31" y="99"/>
                        <a:pt x="36" y="100"/>
                        <a:pt x="36" y="100"/>
                      </a:cubicBezTo>
                      <a:cubicBezTo>
                        <a:pt x="47" y="99"/>
                        <a:pt x="69" y="97"/>
                        <a:pt x="50" y="110"/>
                      </a:cubicBezTo>
                      <a:cubicBezTo>
                        <a:pt x="37" y="108"/>
                        <a:pt x="24" y="104"/>
                        <a:pt x="16" y="116"/>
                      </a:cubicBezTo>
                      <a:cubicBezTo>
                        <a:pt x="24" y="141"/>
                        <a:pt x="68" y="125"/>
                        <a:pt x="94" y="126"/>
                      </a:cubicBezTo>
                      <a:cubicBezTo>
                        <a:pt x="98" y="129"/>
                        <a:pt x="100" y="134"/>
                        <a:pt x="104" y="136"/>
                      </a:cubicBezTo>
                      <a:cubicBezTo>
                        <a:pt x="108" y="138"/>
                        <a:pt x="116" y="140"/>
                        <a:pt x="116" y="140"/>
                      </a:cubicBezTo>
                      <a:cubicBezTo>
                        <a:pt x="129" y="138"/>
                        <a:pt x="133" y="139"/>
                        <a:pt x="142" y="130"/>
                      </a:cubicBezTo>
                      <a:cubicBezTo>
                        <a:pt x="151" y="104"/>
                        <a:pt x="179" y="110"/>
                        <a:pt x="202" y="102"/>
                      </a:cubicBezTo>
                      <a:cubicBezTo>
                        <a:pt x="219" y="96"/>
                        <a:pt x="233" y="84"/>
                        <a:pt x="250" y="78"/>
                      </a:cubicBezTo>
                      <a:cubicBezTo>
                        <a:pt x="260" y="75"/>
                        <a:pt x="269" y="74"/>
                        <a:pt x="280" y="72"/>
                      </a:cubicBezTo>
                      <a:cubicBezTo>
                        <a:pt x="287" y="71"/>
                        <a:pt x="300" y="66"/>
                        <a:pt x="300" y="66"/>
                      </a:cubicBezTo>
                      <a:cubicBezTo>
                        <a:pt x="311" y="49"/>
                        <a:pt x="336" y="54"/>
                        <a:pt x="354" y="60"/>
                      </a:cubicBezTo>
                      <a:cubicBezTo>
                        <a:pt x="367" y="79"/>
                        <a:pt x="335" y="79"/>
                        <a:pt x="324" y="80"/>
                      </a:cubicBezTo>
                      <a:cubicBezTo>
                        <a:pt x="312" y="83"/>
                        <a:pt x="306" y="93"/>
                        <a:pt x="292" y="96"/>
                      </a:cubicBezTo>
                      <a:cubicBezTo>
                        <a:pt x="284" y="94"/>
                        <a:pt x="279" y="90"/>
                        <a:pt x="272" y="88"/>
                      </a:cubicBezTo>
                      <a:cubicBezTo>
                        <a:pt x="253" y="91"/>
                        <a:pt x="232" y="96"/>
                        <a:pt x="214" y="102"/>
                      </a:cubicBezTo>
                      <a:cubicBezTo>
                        <a:pt x="223" y="108"/>
                        <a:pt x="231" y="109"/>
                        <a:pt x="242" y="112"/>
                      </a:cubicBezTo>
                      <a:cubicBezTo>
                        <a:pt x="245" y="113"/>
                        <a:pt x="250" y="114"/>
                        <a:pt x="250" y="114"/>
                      </a:cubicBezTo>
                      <a:cubicBezTo>
                        <a:pt x="251" y="116"/>
                        <a:pt x="255" y="118"/>
                        <a:pt x="254" y="120"/>
                      </a:cubicBezTo>
                      <a:cubicBezTo>
                        <a:pt x="252" y="124"/>
                        <a:pt x="242" y="128"/>
                        <a:pt x="242" y="128"/>
                      </a:cubicBezTo>
                      <a:cubicBezTo>
                        <a:pt x="233" y="141"/>
                        <a:pt x="247" y="154"/>
                        <a:pt x="260" y="158"/>
                      </a:cubicBezTo>
                      <a:cubicBezTo>
                        <a:pt x="282" y="155"/>
                        <a:pt x="295" y="151"/>
                        <a:pt x="318" y="150"/>
                      </a:cubicBezTo>
                      <a:cubicBezTo>
                        <a:pt x="334" y="155"/>
                        <a:pt x="345" y="176"/>
                        <a:pt x="350" y="192"/>
                      </a:cubicBezTo>
                      <a:cubicBezTo>
                        <a:pt x="349" y="195"/>
                        <a:pt x="350" y="199"/>
                        <a:pt x="348" y="202"/>
                      </a:cubicBezTo>
                      <a:cubicBezTo>
                        <a:pt x="345" y="206"/>
                        <a:pt x="336" y="210"/>
                        <a:pt x="336" y="210"/>
                      </a:cubicBezTo>
                      <a:cubicBezTo>
                        <a:pt x="327" y="224"/>
                        <a:pt x="332" y="235"/>
                        <a:pt x="348" y="240"/>
                      </a:cubicBezTo>
                      <a:cubicBezTo>
                        <a:pt x="358" y="237"/>
                        <a:pt x="362" y="237"/>
                        <a:pt x="368" y="246"/>
                      </a:cubicBezTo>
                      <a:cubicBezTo>
                        <a:pt x="360" y="252"/>
                        <a:pt x="346" y="246"/>
                        <a:pt x="338" y="252"/>
                      </a:cubicBezTo>
                      <a:cubicBezTo>
                        <a:pt x="326" y="260"/>
                        <a:pt x="346" y="265"/>
                        <a:pt x="348" y="266"/>
                      </a:cubicBezTo>
                      <a:cubicBezTo>
                        <a:pt x="352" y="278"/>
                        <a:pt x="347" y="279"/>
                        <a:pt x="336" y="286"/>
                      </a:cubicBezTo>
                      <a:cubicBezTo>
                        <a:pt x="332" y="289"/>
                        <a:pt x="324" y="294"/>
                        <a:pt x="324" y="294"/>
                      </a:cubicBezTo>
                      <a:cubicBezTo>
                        <a:pt x="315" y="308"/>
                        <a:pt x="320" y="303"/>
                        <a:pt x="310" y="310"/>
                      </a:cubicBezTo>
                      <a:cubicBezTo>
                        <a:pt x="306" y="316"/>
                        <a:pt x="294" y="324"/>
                        <a:pt x="294" y="324"/>
                      </a:cubicBezTo>
                      <a:cubicBezTo>
                        <a:pt x="285" y="338"/>
                        <a:pt x="288" y="331"/>
                        <a:pt x="284" y="342"/>
                      </a:cubicBezTo>
                      <a:cubicBezTo>
                        <a:pt x="285" y="374"/>
                        <a:pt x="283" y="393"/>
                        <a:pt x="292" y="420"/>
                      </a:cubicBezTo>
                      <a:cubicBezTo>
                        <a:pt x="295" y="429"/>
                        <a:pt x="307" y="435"/>
                        <a:pt x="314" y="440"/>
                      </a:cubicBezTo>
                      <a:cubicBezTo>
                        <a:pt x="319" y="444"/>
                        <a:pt x="332" y="446"/>
                        <a:pt x="332" y="446"/>
                      </a:cubicBezTo>
                      <a:cubicBezTo>
                        <a:pt x="340" y="457"/>
                        <a:pt x="345" y="459"/>
                        <a:pt x="358" y="462"/>
                      </a:cubicBezTo>
                      <a:cubicBezTo>
                        <a:pt x="376" y="459"/>
                        <a:pt x="375" y="457"/>
                        <a:pt x="388" y="448"/>
                      </a:cubicBezTo>
                      <a:cubicBezTo>
                        <a:pt x="390" y="441"/>
                        <a:pt x="394" y="435"/>
                        <a:pt x="400" y="430"/>
                      </a:cubicBezTo>
                      <a:cubicBezTo>
                        <a:pt x="404" y="427"/>
                        <a:pt x="412" y="422"/>
                        <a:pt x="412" y="422"/>
                      </a:cubicBezTo>
                      <a:cubicBezTo>
                        <a:pt x="417" y="415"/>
                        <a:pt x="451" y="367"/>
                        <a:pt x="458" y="364"/>
                      </a:cubicBezTo>
                      <a:cubicBezTo>
                        <a:pt x="475" y="356"/>
                        <a:pt x="486" y="357"/>
                        <a:pt x="506" y="356"/>
                      </a:cubicBezTo>
                      <a:cubicBezTo>
                        <a:pt x="525" y="350"/>
                        <a:pt x="533" y="342"/>
                        <a:pt x="554" y="340"/>
                      </a:cubicBezTo>
                      <a:cubicBezTo>
                        <a:pt x="560" y="338"/>
                        <a:pt x="566" y="336"/>
                        <a:pt x="572" y="334"/>
                      </a:cubicBezTo>
                      <a:cubicBezTo>
                        <a:pt x="576" y="333"/>
                        <a:pt x="584" y="330"/>
                        <a:pt x="584" y="330"/>
                      </a:cubicBezTo>
                      <a:cubicBezTo>
                        <a:pt x="603" y="311"/>
                        <a:pt x="618" y="310"/>
                        <a:pt x="646" y="308"/>
                      </a:cubicBezTo>
                      <a:cubicBezTo>
                        <a:pt x="665" y="304"/>
                        <a:pt x="684" y="303"/>
                        <a:pt x="704" y="302"/>
                      </a:cubicBezTo>
                      <a:cubicBezTo>
                        <a:pt x="712" y="299"/>
                        <a:pt x="712" y="293"/>
                        <a:pt x="720" y="290"/>
                      </a:cubicBezTo>
                      <a:cubicBezTo>
                        <a:pt x="732" y="285"/>
                        <a:pt x="743" y="285"/>
                        <a:pt x="754" y="278"/>
                      </a:cubicBezTo>
                      <a:cubicBezTo>
                        <a:pt x="756" y="271"/>
                        <a:pt x="760" y="267"/>
                        <a:pt x="762" y="260"/>
                      </a:cubicBezTo>
                      <a:cubicBezTo>
                        <a:pt x="763" y="247"/>
                        <a:pt x="762" y="233"/>
                        <a:pt x="764" y="220"/>
                      </a:cubicBezTo>
                      <a:cubicBezTo>
                        <a:pt x="764" y="219"/>
                        <a:pt x="794" y="204"/>
                        <a:pt x="800" y="200"/>
                      </a:cubicBezTo>
                      <a:cubicBezTo>
                        <a:pt x="807" y="189"/>
                        <a:pt x="808" y="186"/>
                        <a:pt x="820" y="182"/>
                      </a:cubicBezTo>
                      <a:cubicBezTo>
                        <a:pt x="825" y="166"/>
                        <a:pt x="814" y="162"/>
                        <a:pt x="802" y="154"/>
                      </a:cubicBezTo>
                      <a:cubicBezTo>
                        <a:pt x="797" y="151"/>
                        <a:pt x="790" y="142"/>
                        <a:pt x="790" y="142"/>
                      </a:cubicBezTo>
                      <a:cubicBezTo>
                        <a:pt x="786" y="131"/>
                        <a:pt x="792" y="127"/>
                        <a:pt x="802" y="124"/>
                      </a:cubicBezTo>
                      <a:cubicBezTo>
                        <a:pt x="810" y="116"/>
                        <a:pt x="813" y="98"/>
                        <a:pt x="820" y="94"/>
                      </a:cubicBezTo>
                      <a:cubicBezTo>
                        <a:pt x="824" y="92"/>
                        <a:pt x="832" y="90"/>
                        <a:pt x="832" y="90"/>
                      </a:cubicBezTo>
                      <a:cubicBezTo>
                        <a:pt x="844" y="92"/>
                        <a:pt x="848" y="92"/>
                        <a:pt x="856" y="100"/>
                      </a:cubicBezTo>
                      <a:cubicBezTo>
                        <a:pt x="863" y="98"/>
                        <a:pt x="876" y="94"/>
                        <a:pt x="876" y="94"/>
                      </a:cubicBezTo>
                      <a:cubicBezTo>
                        <a:pt x="889" y="81"/>
                        <a:pt x="906" y="77"/>
                        <a:pt x="924" y="74"/>
                      </a:cubicBezTo>
                      <a:cubicBezTo>
                        <a:pt x="929" y="67"/>
                        <a:pt x="929" y="58"/>
                        <a:pt x="922" y="52"/>
                      </a:cubicBezTo>
                      <a:cubicBezTo>
                        <a:pt x="918" y="49"/>
                        <a:pt x="910" y="44"/>
                        <a:pt x="910" y="44"/>
                      </a:cubicBezTo>
                      <a:cubicBezTo>
                        <a:pt x="894" y="47"/>
                        <a:pt x="899" y="49"/>
                        <a:pt x="888" y="56"/>
                      </a:cubicBezTo>
                      <a:cubicBezTo>
                        <a:pt x="884" y="58"/>
                        <a:pt x="876" y="60"/>
                        <a:pt x="876" y="60"/>
                      </a:cubicBezTo>
                      <a:cubicBezTo>
                        <a:pt x="853" y="59"/>
                        <a:pt x="810" y="59"/>
                        <a:pt x="848" y="46"/>
                      </a:cubicBezTo>
                      <a:cubicBezTo>
                        <a:pt x="844" y="33"/>
                        <a:pt x="831" y="37"/>
                        <a:pt x="818" y="36"/>
                      </a:cubicBezTo>
                      <a:cubicBezTo>
                        <a:pt x="809" y="33"/>
                        <a:pt x="802" y="27"/>
                        <a:pt x="794" y="22"/>
                      </a:cubicBezTo>
                      <a:cubicBezTo>
                        <a:pt x="790" y="20"/>
                        <a:pt x="782" y="18"/>
                        <a:pt x="782" y="18"/>
                      </a:cubicBezTo>
                      <a:cubicBezTo>
                        <a:pt x="727" y="19"/>
                        <a:pt x="688" y="11"/>
                        <a:pt x="642" y="26"/>
                      </a:cubicBezTo>
                      <a:cubicBezTo>
                        <a:pt x="635" y="16"/>
                        <a:pt x="632" y="18"/>
                        <a:pt x="620" y="20"/>
                      </a:cubicBezTo>
                      <a:cubicBezTo>
                        <a:pt x="611" y="34"/>
                        <a:pt x="600" y="36"/>
                        <a:pt x="584" y="38"/>
                      </a:cubicBezTo>
                      <a:cubicBezTo>
                        <a:pt x="575" y="44"/>
                        <a:pt x="581" y="46"/>
                        <a:pt x="578" y="56"/>
                      </a:cubicBezTo>
                      <a:cubicBezTo>
                        <a:pt x="572" y="47"/>
                        <a:pt x="566" y="41"/>
                        <a:pt x="556" y="38"/>
                      </a:cubicBezTo>
                      <a:cubicBezTo>
                        <a:pt x="553" y="38"/>
                        <a:pt x="539" y="39"/>
                        <a:pt x="534" y="42"/>
                      </a:cubicBezTo>
                      <a:cubicBezTo>
                        <a:pt x="528" y="46"/>
                        <a:pt x="516" y="54"/>
                        <a:pt x="516" y="54"/>
                      </a:cubicBezTo>
                      <a:cubicBezTo>
                        <a:pt x="507" y="52"/>
                        <a:pt x="503" y="51"/>
                        <a:pt x="500" y="42"/>
                      </a:cubicBezTo>
                      <a:cubicBezTo>
                        <a:pt x="505" y="28"/>
                        <a:pt x="488" y="31"/>
                        <a:pt x="478" y="30"/>
                      </a:cubicBezTo>
                      <a:cubicBezTo>
                        <a:pt x="469" y="33"/>
                        <a:pt x="473" y="37"/>
                        <a:pt x="464" y="40"/>
                      </a:cubicBezTo>
                      <a:cubicBezTo>
                        <a:pt x="447" y="34"/>
                        <a:pt x="451" y="27"/>
                        <a:pt x="432" y="40"/>
                      </a:cubicBezTo>
                      <a:cubicBezTo>
                        <a:pt x="427" y="54"/>
                        <a:pt x="427" y="52"/>
                        <a:pt x="410" y="50"/>
                      </a:cubicBezTo>
                      <a:cubicBezTo>
                        <a:pt x="391" y="52"/>
                        <a:pt x="385" y="54"/>
                        <a:pt x="366" y="52"/>
                      </a:cubicBezTo>
                      <a:cubicBezTo>
                        <a:pt x="357" y="49"/>
                        <a:pt x="356" y="46"/>
                        <a:pt x="364" y="40"/>
                      </a:cubicBezTo>
                      <a:cubicBezTo>
                        <a:pt x="380" y="42"/>
                        <a:pt x="395" y="43"/>
                        <a:pt x="410" y="38"/>
                      </a:cubicBezTo>
                      <a:cubicBezTo>
                        <a:pt x="426" y="15"/>
                        <a:pt x="386" y="21"/>
                        <a:pt x="370" y="20"/>
                      </a:cubicBezTo>
                      <a:cubicBezTo>
                        <a:pt x="364" y="16"/>
                        <a:pt x="358" y="12"/>
                        <a:pt x="352" y="8"/>
                      </a:cubicBezTo>
                      <a:cubicBezTo>
                        <a:pt x="348" y="5"/>
                        <a:pt x="340" y="0"/>
                        <a:pt x="340" y="0"/>
                      </a:cubicBezTo>
                      <a:cubicBezTo>
                        <a:pt x="338" y="1"/>
                        <a:pt x="336" y="1"/>
                        <a:pt x="334" y="2"/>
                      </a:cubicBezTo>
                      <a:cubicBezTo>
                        <a:pt x="331" y="3"/>
                        <a:pt x="329" y="3"/>
                        <a:pt x="326" y="4"/>
                      </a:cubicBezTo>
                      <a:cubicBezTo>
                        <a:pt x="322" y="5"/>
                        <a:pt x="314" y="8"/>
                        <a:pt x="314" y="8"/>
                      </a:cubicBezTo>
                      <a:cubicBezTo>
                        <a:pt x="305" y="22"/>
                        <a:pt x="288" y="6"/>
                        <a:pt x="276" y="2"/>
                      </a:cubicBezTo>
                      <a:cubicBezTo>
                        <a:pt x="270" y="3"/>
                        <a:pt x="241" y="16"/>
                        <a:pt x="240" y="16"/>
                      </a:cubicBezTo>
                      <a:cubicBezTo>
                        <a:pt x="226" y="17"/>
                        <a:pt x="212" y="17"/>
                        <a:pt x="198" y="18"/>
                      </a:cubicBezTo>
                      <a:cubicBezTo>
                        <a:pt x="183" y="19"/>
                        <a:pt x="172" y="20"/>
                        <a:pt x="160" y="28"/>
                      </a:cubicBezTo>
                      <a:cubicBezTo>
                        <a:pt x="146" y="26"/>
                        <a:pt x="141" y="27"/>
                        <a:pt x="130" y="20"/>
                      </a:cubicBezTo>
                      <a:cubicBezTo>
                        <a:pt x="123" y="22"/>
                        <a:pt x="115" y="24"/>
                        <a:pt x="108" y="26"/>
                      </a:cubicBezTo>
                      <a:cubicBezTo>
                        <a:pt x="102" y="35"/>
                        <a:pt x="113" y="41"/>
                        <a:pt x="122" y="44"/>
                      </a:cubicBezTo>
                      <a:cubicBezTo>
                        <a:pt x="125" y="52"/>
                        <a:pt x="114" y="68"/>
                        <a:pt x="114" y="68"/>
                      </a:cubicBezTo>
                      <a:cubicBezTo>
                        <a:pt x="112" y="79"/>
                        <a:pt x="111" y="82"/>
                        <a:pt x="100" y="78"/>
                      </a:cubicBezTo>
                      <a:cubicBezTo>
                        <a:pt x="93" y="67"/>
                        <a:pt x="100" y="63"/>
                        <a:pt x="104" y="52"/>
                      </a:cubicBezTo>
                      <a:cubicBezTo>
                        <a:pt x="96" y="44"/>
                        <a:pt x="91" y="36"/>
                        <a:pt x="80" y="32"/>
                      </a:cubicBezTo>
                      <a:cubicBezTo>
                        <a:pt x="73" y="34"/>
                        <a:pt x="67" y="39"/>
                        <a:pt x="60" y="42"/>
                      </a:cubicBezTo>
                      <a:close/>
                    </a:path>
                  </a:pathLst>
                </a:custGeom>
                <a:solidFill>
                  <a:srgbClr val="C0C0C0"/>
                </a:solidFill>
                <a:ln w="6350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>
                  <a:outerShdw dist="28398" dir="3806097" algn="ctr" rotWithShape="0">
                    <a:srgbClr val="333333">
                      <a:alpha val="50000"/>
                    </a:srgbClr>
                  </a:outerShdw>
                </a:effectLst>
              </p:spPr>
              <p:txBody>
                <a:bodyPr/>
                <a:lstStyle/>
                <a:p>
                  <a:pPr>
                    <a:defRPr/>
                  </a:pPr>
                  <a:endParaRPr lang="zh-CN" altLang="en-US"/>
                </a:p>
              </p:txBody>
            </p:sp>
            <p:sp>
              <p:nvSpPr>
                <p:cNvPr id="118" name="Freeform 30"/>
                <p:cNvSpPr>
                  <a:spLocks/>
                </p:cNvSpPr>
                <p:nvPr/>
              </p:nvSpPr>
              <p:spPr bwMode="blackWhite">
                <a:xfrm>
                  <a:off x="2009" y="2135"/>
                  <a:ext cx="39" cy="22"/>
                </a:xfrm>
                <a:custGeom>
                  <a:avLst/>
                  <a:gdLst/>
                  <a:ahLst/>
                  <a:cxnLst>
                    <a:cxn ang="0">
                      <a:pos x="34" y="0"/>
                    </a:cxn>
                    <a:cxn ang="0">
                      <a:pos x="8" y="20"/>
                    </a:cxn>
                    <a:cxn ang="0">
                      <a:pos x="24" y="32"/>
                    </a:cxn>
                    <a:cxn ang="0">
                      <a:pos x="42" y="30"/>
                    </a:cxn>
                    <a:cxn ang="0">
                      <a:pos x="34" y="0"/>
                    </a:cxn>
                  </a:cxnLst>
                  <a:rect l="0" t="0" r="r" b="b"/>
                  <a:pathLst>
                    <a:path w="52" h="32">
                      <a:moveTo>
                        <a:pt x="34" y="0"/>
                      </a:moveTo>
                      <a:cubicBezTo>
                        <a:pt x="30" y="12"/>
                        <a:pt x="19" y="16"/>
                        <a:pt x="8" y="20"/>
                      </a:cubicBezTo>
                      <a:cubicBezTo>
                        <a:pt x="0" y="32"/>
                        <a:pt x="14" y="31"/>
                        <a:pt x="24" y="32"/>
                      </a:cubicBezTo>
                      <a:cubicBezTo>
                        <a:pt x="30" y="31"/>
                        <a:pt x="36" y="32"/>
                        <a:pt x="42" y="30"/>
                      </a:cubicBezTo>
                      <a:cubicBezTo>
                        <a:pt x="52" y="26"/>
                        <a:pt x="34" y="3"/>
                        <a:pt x="34" y="0"/>
                      </a:cubicBezTo>
                      <a:close/>
                    </a:path>
                  </a:pathLst>
                </a:custGeom>
                <a:solidFill>
                  <a:srgbClr val="C0C0C0"/>
                </a:solidFill>
                <a:ln w="6350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>
                  <a:outerShdw dist="28398" dir="3806097" algn="ctr" rotWithShape="0">
                    <a:srgbClr val="333333">
                      <a:alpha val="50000"/>
                    </a:srgbClr>
                  </a:outerShdw>
                </a:effectLst>
              </p:spPr>
              <p:txBody>
                <a:bodyPr/>
                <a:lstStyle/>
                <a:p>
                  <a:pPr>
                    <a:defRPr/>
                  </a:pPr>
                  <a:endParaRPr lang="zh-CN" altLang="en-US"/>
                </a:p>
              </p:txBody>
            </p:sp>
            <p:sp>
              <p:nvSpPr>
                <p:cNvPr id="120" name="Freeform 31"/>
                <p:cNvSpPr>
                  <a:spLocks/>
                </p:cNvSpPr>
                <p:nvPr/>
              </p:nvSpPr>
              <p:spPr bwMode="blackWhite">
                <a:xfrm>
                  <a:off x="2292" y="2201"/>
                  <a:ext cx="130" cy="54"/>
                </a:xfrm>
                <a:custGeom>
                  <a:avLst/>
                  <a:gdLst/>
                  <a:ahLst/>
                  <a:cxnLst>
                    <a:cxn ang="0">
                      <a:pos x="102" y="8"/>
                    </a:cxn>
                    <a:cxn ang="0">
                      <a:pos x="66" y="4"/>
                    </a:cxn>
                    <a:cxn ang="0">
                      <a:pos x="54" y="0"/>
                    </a:cxn>
                    <a:cxn ang="0">
                      <a:pos x="0" y="28"/>
                    </a:cxn>
                    <a:cxn ang="0">
                      <a:pos x="28" y="40"/>
                    </a:cxn>
                    <a:cxn ang="0">
                      <a:pos x="42" y="60"/>
                    </a:cxn>
                    <a:cxn ang="0">
                      <a:pos x="66" y="68"/>
                    </a:cxn>
                    <a:cxn ang="0">
                      <a:pos x="78" y="72"/>
                    </a:cxn>
                    <a:cxn ang="0">
                      <a:pos x="130" y="60"/>
                    </a:cxn>
                    <a:cxn ang="0">
                      <a:pos x="172" y="44"/>
                    </a:cxn>
                    <a:cxn ang="0">
                      <a:pos x="148" y="18"/>
                    </a:cxn>
                    <a:cxn ang="0">
                      <a:pos x="136" y="4"/>
                    </a:cxn>
                    <a:cxn ang="0">
                      <a:pos x="102" y="8"/>
                    </a:cxn>
                  </a:cxnLst>
                  <a:rect l="0" t="0" r="r" b="b"/>
                  <a:pathLst>
                    <a:path w="172" h="72">
                      <a:moveTo>
                        <a:pt x="102" y="8"/>
                      </a:moveTo>
                      <a:cubicBezTo>
                        <a:pt x="89" y="12"/>
                        <a:pt x="78" y="8"/>
                        <a:pt x="66" y="4"/>
                      </a:cubicBezTo>
                      <a:cubicBezTo>
                        <a:pt x="62" y="3"/>
                        <a:pt x="54" y="0"/>
                        <a:pt x="54" y="0"/>
                      </a:cubicBezTo>
                      <a:cubicBezTo>
                        <a:pt x="38" y="5"/>
                        <a:pt x="12" y="16"/>
                        <a:pt x="0" y="28"/>
                      </a:cubicBezTo>
                      <a:cubicBezTo>
                        <a:pt x="4" y="39"/>
                        <a:pt x="18" y="39"/>
                        <a:pt x="28" y="40"/>
                      </a:cubicBezTo>
                      <a:cubicBezTo>
                        <a:pt x="39" y="44"/>
                        <a:pt x="41" y="60"/>
                        <a:pt x="42" y="60"/>
                      </a:cubicBezTo>
                      <a:cubicBezTo>
                        <a:pt x="50" y="63"/>
                        <a:pt x="58" y="65"/>
                        <a:pt x="66" y="68"/>
                      </a:cubicBezTo>
                      <a:cubicBezTo>
                        <a:pt x="70" y="69"/>
                        <a:pt x="78" y="72"/>
                        <a:pt x="78" y="72"/>
                      </a:cubicBezTo>
                      <a:cubicBezTo>
                        <a:pt x="92" y="71"/>
                        <a:pt x="117" y="69"/>
                        <a:pt x="130" y="60"/>
                      </a:cubicBezTo>
                      <a:cubicBezTo>
                        <a:pt x="148" y="48"/>
                        <a:pt x="150" y="46"/>
                        <a:pt x="172" y="44"/>
                      </a:cubicBezTo>
                      <a:cubicBezTo>
                        <a:pt x="169" y="29"/>
                        <a:pt x="162" y="23"/>
                        <a:pt x="148" y="18"/>
                      </a:cubicBezTo>
                      <a:cubicBezTo>
                        <a:pt x="145" y="10"/>
                        <a:pt x="144" y="7"/>
                        <a:pt x="136" y="4"/>
                      </a:cubicBezTo>
                      <a:cubicBezTo>
                        <a:pt x="134" y="4"/>
                        <a:pt x="105" y="11"/>
                        <a:pt x="102" y="8"/>
                      </a:cubicBezTo>
                      <a:close/>
                    </a:path>
                  </a:pathLst>
                </a:custGeom>
                <a:solidFill>
                  <a:srgbClr val="C0C0C0"/>
                </a:solidFill>
                <a:ln w="6350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>
                  <a:outerShdw dist="28398" dir="3806097" algn="ctr" rotWithShape="0">
                    <a:srgbClr val="333333">
                      <a:alpha val="50000"/>
                    </a:srgbClr>
                  </a:outerShdw>
                </a:effectLst>
              </p:spPr>
              <p:txBody>
                <a:bodyPr/>
                <a:lstStyle/>
                <a:p>
                  <a:pPr>
                    <a:defRPr/>
                  </a:pPr>
                  <a:endParaRPr lang="zh-CN" altLang="en-US"/>
                </a:p>
              </p:txBody>
            </p:sp>
            <p:sp>
              <p:nvSpPr>
                <p:cNvPr id="121" name="Freeform 32"/>
                <p:cNvSpPr>
                  <a:spLocks/>
                </p:cNvSpPr>
                <p:nvPr/>
              </p:nvSpPr>
              <p:spPr bwMode="blackWhite">
                <a:xfrm>
                  <a:off x="2393" y="2038"/>
                  <a:ext cx="39" cy="22"/>
                </a:xfrm>
                <a:custGeom>
                  <a:avLst/>
                  <a:gdLst/>
                  <a:ahLst/>
                  <a:cxnLst>
                    <a:cxn ang="0">
                      <a:pos x="34" y="0"/>
                    </a:cxn>
                    <a:cxn ang="0">
                      <a:pos x="8" y="20"/>
                    </a:cxn>
                    <a:cxn ang="0">
                      <a:pos x="24" y="32"/>
                    </a:cxn>
                    <a:cxn ang="0">
                      <a:pos x="42" y="30"/>
                    </a:cxn>
                    <a:cxn ang="0">
                      <a:pos x="34" y="0"/>
                    </a:cxn>
                  </a:cxnLst>
                  <a:rect l="0" t="0" r="r" b="b"/>
                  <a:pathLst>
                    <a:path w="52" h="32">
                      <a:moveTo>
                        <a:pt x="34" y="0"/>
                      </a:moveTo>
                      <a:cubicBezTo>
                        <a:pt x="30" y="12"/>
                        <a:pt x="19" y="16"/>
                        <a:pt x="8" y="20"/>
                      </a:cubicBezTo>
                      <a:cubicBezTo>
                        <a:pt x="0" y="32"/>
                        <a:pt x="14" y="31"/>
                        <a:pt x="24" y="32"/>
                      </a:cubicBezTo>
                      <a:cubicBezTo>
                        <a:pt x="30" y="31"/>
                        <a:pt x="36" y="32"/>
                        <a:pt x="42" y="30"/>
                      </a:cubicBezTo>
                      <a:cubicBezTo>
                        <a:pt x="52" y="26"/>
                        <a:pt x="34" y="3"/>
                        <a:pt x="34" y="0"/>
                      </a:cubicBezTo>
                      <a:close/>
                    </a:path>
                  </a:pathLst>
                </a:custGeom>
                <a:solidFill>
                  <a:srgbClr val="C0C0C0"/>
                </a:solidFill>
                <a:ln w="6350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>
                  <a:outerShdw dist="28398" dir="3806097" algn="ctr" rotWithShape="0">
                    <a:srgbClr val="333333">
                      <a:alpha val="50000"/>
                    </a:srgbClr>
                  </a:outerShdw>
                </a:effectLst>
              </p:spPr>
              <p:txBody>
                <a:bodyPr/>
                <a:lstStyle/>
                <a:p>
                  <a:pPr>
                    <a:defRPr/>
                  </a:pPr>
                  <a:endParaRPr lang="zh-CN" altLang="en-US"/>
                </a:p>
              </p:txBody>
            </p:sp>
            <p:sp>
              <p:nvSpPr>
                <p:cNvPr id="126" name="Freeform 33"/>
                <p:cNvSpPr>
                  <a:spLocks/>
                </p:cNvSpPr>
                <p:nvPr/>
              </p:nvSpPr>
              <p:spPr bwMode="blackWhite">
                <a:xfrm>
                  <a:off x="2662" y="2006"/>
                  <a:ext cx="155" cy="64"/>
                </a:xfrm>
                <a:custGeom>
                  <a:avLst/>
                  <a:gdLst/>
                  <a:ahLst/>
                  <a:cxnLst>
                    <a:cxn ang="0">
                      <a:pos x="191" y="7"/>
                    </a:cxn>
                    <a:cxn ang="0">
                      <a:pos x="103" y="9"/>
                    </a:cxn>
                    <a:cxn ang="0">
                      <a:pos x="109" y="25"/>
                    </a:cxn>
                    <a:cxn ang="0">
                      <a:pos x="107" y="33"/>
                    </a:cxn>
                    <a:cxn ang="0">
                      <a:pos x="89" y="27"/>
                    </a:cxn>
                    <a:cxn ang="0">
                      <a:pos x="77" y="19"/>
                    </a:cxn>
                    <a:cxn ang="0">
                      <a:pos x="23" y="27"/>
                    </a:cxn>
                    <a:cxn ang="0">
                      <a:pos x="31" y="49"/>
                    </a:cxn>
                    <a:cxn ang="0">
                      <a:pos x="55" y="53"/>
                    </a:cxn>
                    <a:cxn ang="0">
                      <a:pos x="75" y="73"/>
                    </a:cxn>
                    <a:cxn ang="0">
                      <a:pos x="89" y="85"/>
                    </a:cxn>
                    <a:cxn ang="0">
                      <a:pos x="109" y="67"/>
                    </a:cxn>
                    <a:cxn ang="0">
                      <a:pos x="121" y="59"/>
                    </a:cxn>
                    <a:cxn ang="0">
                      <a:pos x="127" y="47"/>
                    </a:cxn>
                    <a:cxn ang="0">
                      <a:pos x="167" y="35"/>
                    </a:cxn>
                    <a:cxn ang="0">
                      <a:pos x="187" y="31"/>
                    </a:cxn>
                    <a:cxn ang="0">
                      <a:pos x="199" y="27"/>
                    </a:cxn>
                    <a:cxn ang="0">
                      <a:pos x="191" y="7"/>
                    </a:cxn>
                  </a:cxnLst>
                  <a:rect l="0" t="0" r="r" b="b"/>
                  <a:pathLst>
                    <a:path w="206" h="85">
                      <a:moveTo>
                        <a:pt x="191" y="7"/>
                      </a:moveTo>
                      <a:cubicBezTo>
                        <a:pt x="165" y="6"/>
                        <a:pt x="130" y="0"/>
                        <a:pt x="103" y="9"/>
                      </a:cubicBezTo>
                      <a:cubicBezTo>
                        <a:pt x="100" y="18"/>
                        <a:pt x="101" y="20"/>
                        <a:pt x="109" y="25"/>
                      </a:cubicBezTo>
                      <a:cubicBezTo>
                        <a:pt x="111" y="28"/>
                        <a:pt x="118" y="34"/>
                        <a:pt x="107" y="33"/>
                      </a:cubicBezTo>
                      <a:cubicBezTo>
                        <a:pt x="101" y="32"/>
                        <a:pt x="89" y="27"/>
                        <a:pt x="89" y="27"/>
                      </a:cubicBezTo>
                      <a:cubicBezTo>
                        <a:pt x="86" y="24"/>
                        <a:pt x="82" y="18"/>
                        <a:pt x="77" y="19"/>
                      </a:cubicBezTo>
                      <a:cubicBezTo>
                        <a:pt x="52" y="22"/>
                        <a:pt x="57" y="25"/>
                        <a:pt x="23" y="27"/>
                      </a:cubicBezTo>
                      <a:cubicBezTo>
                        <a:pt x="0" y="31"/>
                        <a:pt x="18" y="45"/>
                        <a:pt x="31" y="49"/>
                      </a:cubicBezTo>
                      <a:cubicBezTo>
                        <a:pt x="43" y="53"/>
                        <a:pt x="35" y="51"/>
                        <a:pt x="55" y="53"/>
                      </a:cubicBezTo>
                      <a:cubicBezTo>
                        <a:pt x="63" y="59"/>
                        <a:pt x="66" y="67"/>
                        <a:pt x="75" y="73"/>
                      </a:cubicBezTo>
                      <a:cubicBezTo>
                        <a:pt x="78" y="81"/>
                        <a:pt x="81" y="82"/>
                        <a:pt x="89" y="85"/>
                      </a:cubicBezTo>
                      <a:cubicBezTo>
                        <a:pt x="104" y="81"/>
                        <a:pt x="99" y="75"/>
                        <a:pt x="109" y="67"/>
                      </a:cubicBezTo>
                      <a:cubicBezTo>
                        <a:pt x="113" y="64"/>
                        <a:pt x="121" y="59"/>
                        <a:pt x="121" y="59"/>
                      </a:cubicBezTo>
                      <a:cubicBezTo>
                        <a:pt x="123" y="55"/>
                        <a:pt x="124" y="50"/>
                        <a:pt x="127" y="47"/>
                      </a:cubicBezTo>
                      <a:cubicBezTo>
                        <a:pt x="132" y="41"/>
                        <a:pt x="158" y="37"/>
                        <a:pt x="167" y="35"/>
                      </a:cubicBezTo>
                      <a:cubicBezTo>
                        <a:pt x="174" y="34"/>
                        <a:pt x="181" y="33"/>
                        <a:pt x="187" y="31"/>
                      </a:cubicBezTo>
                      <a:cubicBezTo>
                        <a:pt x="191" y="30"/>
                        <a:pt x="199" y="27"/>
                        <a:pt x="199" y="27"/>
                      </a:cubicBezTo>
                      <a:cubicBezTo>
                        <a:pt x="206" y="16"/>
                        <a:pt x="199" y="15"/>
                        <a:pt x="191" y="7"/>
                      </a:cubicBezTo>
                      <a:close/>
                    </a:path>
                  </a:pathLst>
                </a:custGeom>
                <a:solidFill>
                  <a:srgbClr val="C0C0C0"/>
                </a:solidFill>
                <a:ln w="6350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>
                  <a:outerShdw dist="28398" dir="3806097" algn="ctr" rotWithShape="0">
                    <a:srgbClr val="333333">
                      <a:alpha val="50000"/>
                    </a:srgbClr>
                  </a:outerShdw>
                </a:effectLst>
              </p:spPr>
              <p:txBody>
                <a:bodyPr/>
                <a:lstStyle/>
                <a:p>
                  <a:pPr>
                    <a:defRPr/>
                  </a:pPr>
                  <a:endParaRPr lang="zh-CN" altLang="en-US"/>
                </a:p>
              </p:txBody>
            </p:sp>
            <p:sp>
              <p:nvSpPr>
                <p:cNvPr id="127" name="Freeform 34"/>
                <p:cNvSpPr>
                  <a:spLocks/>
                </p:cNvSpPr>
                <p:nvPr/>
              </p:nvSpPr>
              <p:spPr bwMode="blackWhite">
                <a:xfrm>
                  <a:off x="2759" y="2039"/>
                  <a:ext cx="48" cy="20"/>
                </a:xfrm>
                <a:custGeom>
                  <a:avLst/>
                  <a:gdLst/>
                  <a:ahLst/>
                  <a:cxnLst>
                    <a:cxn ang="0">
                      <a:pos x="36" y="6"/>
                    </a:cxn>
                    <a:cxn ang="0">
                      <a:pos x="8" y="4"/>
                    </a:cxn>
                    <a:cxn ang="0">
                      <a:pos x="24" y="28"/>
                    </a:cxn>
                    <a:cxn ang="0">
                      <a:pos x="54" y="14"/>
                    </a:cxn>
                    <a:cxn ang="0">
                      <a:pos x="36" y="6"/>
                    </a:cxn>
                  </a:cxnLst>
                  <a:rect l="0" t="0" r="r" b="b"/>
                  <a:pathLst>
                    <a:path w="64" h="28">
                      <a:moveTo>
                        <a:pt x="36" y="6"/>
                      </a:moveTo>
                      <a:cubicBezTo>
                        <a:pt x="32" y="18"/>
                        <a:pt x="19" y="0"/>
                        <a:pt x="8" y="4"/>
                      </a:cubicBezTo>
                      <a:cubicBezTo>
                        <a:pt x="0" y="16"/>
                        <a:pt x="14" y="27"/>
                        <a:pt x="24" y="28"/>
                      </a:cubicBezTo>
                      <a:cubicBezTo>
                        <a:pt x="30" y="27"/>
                        <a:pt x="48" y="16"/>
                        <a:pt x="54" y="14"/>
                      </a:cubicBezTo>
                      <a:cubicBezTo>
                        <a:pt x="64" y="10"/>
                        <a:pt x="36" y="9"/>
                        <a:pt x="36" y="6"/>
                      </a:cubicBezTo>
                      <a:close/>
                    </a:path>
                  </a:pathLst>
                </a:custGeom>
                <a:solidFill>
                  <a:srgbClr val="C0C0C0"/>
                </a:solidFill>
                <a:ln w="6350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>
                  <a:outerShdw dist="28398" dir="3806097" algn="ctr" rotWithShape="0">
                    <a:srgbClr val="333333">
                      <a:alpha val="50000"/>
                    </a:srgbClr>
                  </a:outerShdw>
                </a:effectLst>
              </p:spPr>
              <p:txBody>
                <a:bodyPr/>
                <a:lstStyle/>
                <a:p>
                  <a:pPr>
                    <a:defRPr/>
                  </a:pPr>
                  <a:endParaRPr lang="zh-CN" altLang="en-US"/>
                </a:p>
              </p:txBody>
            </p:sp>
            <p:sp>
              <p:nvSpPr>
                <p:cNvPr id="128" name="Freeform 35"/>
                <p:cNvSpPr>
                  <a:spLocks/>
                </p:cNvSpPr>
                <p:nvPr/>
              </p:nvSpPr>
              <p:spPr bwMode="blackWhite">
                <a:xfrm>
                  <a:off x="2467" y="2311"/>
                  <a:ext cx="110" cy="132"/>
                </a:xfrm>
                <a:custGeom>
                  <a:avLst/>
                  <a:gdLst/>
                  <a:ahLst/>
                  <a:cxnLst>
                    <a:cxn ang="0">
                      <a:pos x="24" y="19"/>
                    </a:cxn>
                    <a:cxn ang="0">
                      <a:pos x="0" y="25"/>
                    </a:cxn>
                    <a:cxn ang="0">
                      <a:pos x="14" y="43"/>
                    </a:cxn>
                    <a:cxn ang="0">
                      <a:pos x="34" y="87"/>
                    </a:cxn>
                    <a:cxn ang="0">
                      <a:pos x="52" y="91"/>
                    </a:cxn>
                    <a:cxn ang="0">
                      <a:pos x="50" y="107"/>
                    </a:cxn>
                    <a:cxn ang="0">
                      <a:pos x="28" y="113"/>
                    </a:cxn>
                    <a:cxn ang="0">
                      <a:pos x="16" y="131"/>
                    </a:cxn>
                    <a:cxn ang="0">
                      <a:pos x="18" y="137"/>
                    </a:cxn>
                    <a:cxn ang="0">
                      <a:pos x="30" y="141"/>
                    </a:cxn>
                    <a:cxn ang="0">
                      <a:pos x="18" y="169"/>
                    </a:cxn>
                    <a:cxn ang="0">
                      <a:pos x="20" y="175"/>
                    </a:cxn>
                    <a:cxn ang="0">
                      <a:pos x="34" y="171"/>
                    </a:cxn>
                    <a:cxn ang="0">
                      <a:pos x="58" y="169"/>
                    </a:cxn>
                    <a:cxn ang="0">
                      <a:pos x="92" y="171"/>
                    </a:cxn>
                    <a:cxn ang="0">
                      <a:pos x="110" y="169"/>
                    </a:cxn>
                    <a:cxn ang="0">
                      <a:pos x="122" y="165"/>
                    </a:cxn>
                    <a:cxn ang="0">
                      <a:pos x="128" y="141"/>
                    </a:cxn>
                    <a:cxn ang="0">
                      <a:pos x="146" y="133"/>
                    </a:cxn>
                    <a:cxn ang="0">
                      <a:pos x="110" y="109"/>
                    </a:cxn>
                    <a:cxn ang="0">
                      <a:pos x="88" y="83"/>
                    </a:cxn>
                    <a:cxn ang="0">
                      <a:pos x="82" y="69"/>
                    </a:cxn>
                    <a:cxn ang="0">
                      <a:pos x="64" y="61"/>
                    </a:cxn>
                    <a:cxn ang="0">
                      <a:pos x="86" y="45"/>
                    </a:cxn>
                    <a:cxn ang="0">
                      <a:pos x="64" y="31"/>
                    </a:cxn>
                    <a:cxn ang="0">
                      <a:pos x="70" y="13"/>
                    </a:cxn>
                    <a:cxn ang="0">
                      <a:pos x="46" y="1"/>
                    </a:cxn>
                    <a:cxn ang="0">
                      <a:pos x="30" y="9"/>
                    </a:cxn>
                    <a:cxn ang="0">
                      <a:pos x="24" y="19"/>
                    </a:cxn>
                  </a:cxnLst>
                  <a:rect l="0" t="0" r="r" b="b"/>
                  <a:pathLst>
                    <a:path w="146" h="176">
                      <a:moveTo>
                        <a:pt x="24" y="19"/>
                      </a:moveTo>
                      <a:cubicBezTo>
                        <a:pt x="13" y="23"/>
                        <a:pt x="7" y="15"/>
                        <a:pt x="0" y="25"/>
                      </a:cubicBezTo>
                      <a:cubicBezTo>
                        <a:pt x="2" y="32"/>
                        <a:pt x="14" y="43"/>
                        <a:pt x="14" y="43"/>
                      </a:cubicBezTo>
                      <a:cubicBezTo>
                        <a:pt x="19" y="58"/>
                        <a:pt x="20" y="78"/>
                        <a:pt x="34" y="87"/>
                      </a:cubicBezTo>
                      <a:cubicBezTo>
                        <a:pt x="42" y="84"/>
                        <a:pt x="45" y="86"/>
                        <a:pt x="52" y="91"/>
                      </a:cubicBezTo>
                      <a:cubicBezTo>
                        <a:pt x="57" y="105"/>
                        <a:pt x="60" y="101"/>
                        <a:pt x="50" y="107"/>
                      </a:cubicBezTo>
                      <a:cubicBezTo>
                        <a:pt x="38" y="105"/>
                        <a:pt x="32" y="101"/>
                        <a:pt x="28" y="113"/>
                      </a:cubicBezTo>
                      <a:cubicBezTo>
                        <a:pt x="32" y="129"/>
                        <a:pt x="33" y="128"/>
                        <a:pt x="16" y="131"/>
                      </a:cubicBezTo>
                      <a:cubicBezTo>
                        <a:pt x="17" y="133"/>
                        <a:pt x="16" y="136"/>
                        <a:pt x="18" y="137"/>
                      </a:cubicBezTo>
                      <a:cubicBezTo>
                        <a:pt x="21" y="139"/>
                        <a:pt x="30" y="141"/>
                        <a:pt x="30" y="141"/>
                      </a:cubicBezTo>
                      <a:cubicBezTo>
                        <a:pt x="28" y="152"/>
                        <a:pt x="21" y="159"/>
                        <a:pt x="18" y="169"/>
                      </a:cubicBezTo>
                      <a:cubicBezTo>
                        <a:pt x="19" y="171"/>
                        <a:pt x="18" y="174"/>
                        <a:pt x="20" y="175"/>
                      </a:cubicBezTo>
                      <a:cubicBezTo>
                        <a:pt x="22" y="176"/>
                        <a:pt x="32" y="171"/>
                        <a:pt x="34" y="171"/>
                      </a:cubicBezTo>
                      <a:cubicBezTo>
                        <a:pt x="42" y="170"/>
                        <a:pt x="50" y="170"/>
                        <a:pt x="58" y="169"/>
                      </a:cubicBezTo>
                      <a:cubicBezTo>
                        <a:pt x="70" y="167"/>
                        <a:pt x="80" y="167"/>
                        <a:pt x="92" y="171"/>
                      </a:cubicBezTo>
                      <a:cubicBezTo>
                        <a:pt x="98" y="170"/>
                        <a:pt x="104" y="170"/>
                        <a:pt x="110" y="169"/>
                      </a:cubicBezTo>
                      <a:cubicBezTo>
                        <a:pt x="114" y="168"/>
                        <a:pt x="122" y="165"/>
                        <a:pt x="122" y="165"/>
                      </a:cubicBezTo>
                      <a:cubicBezTo>
                        <a:pt x="124" y="158"/>
                        <a:pt x="123" y="147"/>
                        <a:pt x="128" y="141"/>
                      </a:cubicBezTo>
                      <a:cubicBezTo>
                        <a:pt x="132" y="136"/>
                        <a:pt x="146" y="133"/>
                        <a:pt x="146" y="133"/>
                      </a:cubicBezTo>
                      <a:cubicBezTo>
                        <a:pt x="142" y="105"/>
                        <a:pt x="143" y="111"/>
                        <a:pt x="110" y="109"/>
                      </a:cubicBezTo>
                      <a:cubicBezTo>
                        <a:pt x="102" y="97"/>
                        <a:pt x="103" y="88"/>
                        <a:pt x="88" y="83"/>
                      </a:cubicBezTo>
                      <a:cubicBezTo>
                        <a:pt x="85" y="79"/>
                        <a:pt x="86" y="72"/>
                        <a:pt x="82" y="69"/>
                      </a:cubicBezTo>
                      <a:cubicBezTo>
                        <a:pt x="77" y="65"/>
                        <a:pt x="69" y="65"/>
                        <a:pt x="64" y="61"/>
                      </a:cubicBezTo>
                      <a:cubicBezTo>
                        <a:pt x="52" y="43"/>
                        <a:pt x="67" y="47"/>
                        <a:pt x="86" y="45"/>
                      </a:cubicBezTo>
                      <a:cubicBezTo>
                        <a:pt x="93" y="25"/>
                        <a:pt x="83" y="29"/>
                        <a:pt x="64" y="31"/>
                      </a:cubicBezTo>
                      <a:cubicBezTo>
                        <a:pt x="62" y="25"/>
                        <a:pt x="70" y="13"/>
                        <a:pt x="70" y="13"/>
                      </a:cubicBezTo>
                      <a:cubicBezTo>
                        <a:pt x="64" y="4"/>
                        <a:pt x="56" y="3"/>
                        <a:pt x="46" y="1"/>
                      </a:cubicBezTo>
                      <a:cubicBezTo>
                        <a:pt x="35" y="3"/>
                        <a:pt x="34" y="0"/>
                        <a:pt x="30" y="9"/>
                      </a:cubicBezTo>
                      <a:cubicBezTo>
                        <a:pt x="25" y="21"/>
                        <a:pt x="29" y="24"/>
                        <a:pt x="24" y="19"/>
                      </a:cubicBezTo>
                      <a:close/>
                    </a:path>
                  </a:pathLst>
                </a:custGeom>
                <a:solidFill>
                  <a:srgbClr val="C0C0C0"/>
                </a:solidFill>
                <a:ln w="6350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>
                  <a:outerShdw dist="28398" dir="3806097" algn="ctr" rotWithShape="0">
                    <a:srgbClr val="333333">
                      <a:alpha val="50000"/>
                    </a:srgbClr>
                  </a:outerShdw>
                </a:effectLst>
              </p:spPr>
              <p:txBody>
                <a:bodyPr/>
                <a:lstStyle/>
                <a:p>
                  <a:pPr>
                    <a:defRPr/>
                  </a:pPr>
                  <a:endParaRPr lang="zh-CN" altLang="en-US"/>
                </a:p>
              </p:txBody>
            </p:sp>
            <p:sp>
              <p:nvSpPr>
                <p:cNvPr id="129" name="Freeform 36"/>
                <p:cNvSpPr>
                  <a:spLocks/>
                </p:cNvSpPr>
                <p:nvPr/>
              </p:nvSpPr>
              <p:spPr bwMode="blackWhite">
                <a:xfrm>
                  <a:off x="2413" y="2359"/>
                  <a:ext cx="68" cy="68"/>
                </a:xfrm>
                <a:custGeom>
                  <a:avLst/>
                  <a:gdLst/>
                  <a:ahLst/>
                  <a:cxnLst>
                    <a:cxn ang="0">
                      <a:pos x="58" y="6"/>
                    </a:cxn>
                    <a:cxn ang="0">
                      <a:pos x="82" y="8"/>
                    </a:cxn>
                    <a:cxn ang="0">
                      <a:pos x="92" y="26"/>
                    </a:cxn>
                    <a:cxn ang="0">
                      <a:pos x="78" y="48"/>
                    </a:cxn>
                    <a:cxn ang="0">
                      <a:pos x="46" y="76"/>
                    </a:cxn>
                    <a:cxn ang="0">
                      <a:pos x="18" y="92"/>
                    </a:cxn>
                    <a:cxn ang="0">
                      <a:pos x="8" y="72"/>
                    </a:cxn>
                    <a:cxn ang="0">
                      <a:pos x="20" y="64"/>
                    </a:cxn>
                    <a:cxn ang="0">
                      <a:pos x="14" y="46"/>
                    </a:cxn>
                    <a:cxn ang="0">
                      <a:pos x="40" y="28"/>
                    </a:cxn>
                    <a:cxn ang="0">
                      <a:pos x="58" y="6"/>
                    </a:cxn>
                  </a:cxnLst>
                  <a:rect l="0" t="0" r="r" b="b"/>
                  <a:pathLst>
                    <a:path w="92" h="92">
                      <a:moveTo>
                        <a:pt x="58" y="6"/>
                      </a:moveTo>
                      <a:cubicBezTo>
                        <a:pt x="67" y="0"/>
                        <a:pt x="73" y="2"/>
                        <a:pt x="82" y="8"/>
                      </a:cubicBezTo>
                      <a:cubicBezTo>
                        <a:pt x="91" y="22"/>
                        <a:pt x="88" y="15"/>
                        <a:pt x="92" y="26"/>
                      </a:cubicBezTo>
                      <a:cubicBezTo>
                        <a:pt x="89" y="36"/>
                        <a:pt x="82" y="37"/>
                        <a:pt x="78" y="48"/>
                      </a:cubicBezTo>
                      <a:cubicBezTo>
                        <a:pt x="85" y="69"/>
                        <a:pt x="60" y="71"/>
                        <a:pt x="46" y="76"/>
                      </a:cubicBezTo>
                      <a:cubicBezTo>
                        <a:pt x="40" y="86"/>
                        <a:pt x="28" y="86"/>
                        <a:pt x="18" y="92"/>
                      </a:cubicBezTo>
                      <a:cubicBezTo>
                        <a:pt x="9" y="90"/>
                        <a:pt x="0" y="84"/>
                        <a:pt x="8" y="72"/>
                      </a:cubicBezTo>
                      <a:cubicBezTo>
                        <a:pt x="11" y="68"/>
                        <a:pt x="20" y="64"/>
                        <a:pt x="20" y="64"/>
                      </a:cubicBezTo>
                      <a:cubicBezTo>
                        <a:pt x="23" y="55"/>
                        <a:pt x="21" y="53"/>
                        <a:pt x="14" y="46"/>
                      </a:cubicBezTo>
                      <a:cubicBezTo>
                        <a:pt x="18" y="30"/>
                        <a:pt x="28" y="36"/>
                        <a:pt x="40" y="28"/>
                      </a:cubicBezTo>
                      <a:cubicBezTo>
                        <a:pt x="56" y="17"/>
                        <a:pt x="50" y="24"/>
                        <a:pt x="58" y="6"/>
                      </a:cubicBezTo>
                      <a:close/>
                    </a:path>
                  </a:pathLst>
                </a:custGeom>
                <a:solidFill>
                  <a:srgbClr val="C0C0C0"/>
                </a:solidFill>
                <a:ln w="6350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>
                  <a:outerShdw dist="28398" dir="3806097" algn="ctr" rotWithShape="0">
                    <a:srgbClr val="333333">
                      <a:alpha val="50000"/>
                    </a:srgbClr>
                  </a:outerShdw>
                </a:effectLst>
              </p:spPr>
              <p:txBody>
                <a:bodyPr/>
                <a:lstStyle/>
                <a:p>
                  <a:pPr>
                    <a:defRPr/>
                  </a:pPr>
                  <a:endParaRPr lang="zh-CN" altLang="en-US"/>
                </a:p>
              </p:txBody>
            </p:sp>
            <p:sp>
              <p:nvSpPr>
                <p:cNvPr id="130" name="Freeform 37"/>
                <p:cNvSpPr>
                  <a:spLocks/>
                </p:cNvSpPr>
                <p:nvPr/>
              </p:nvSpPr>
              <p:spPr bwMode="blackWhite">
                <a:xfrm>
                  <a:off x="4099" y="3502"/>
                  <a:ext cx="474" cy="495"/>
                </a:xfrm>
                <a:custGeom>
                  <a:avLst/>
                  <a:gdLst/>
                  <a:ahLst/>
                  <a:cxnLst>
                    <a:cxn ang="0">
                      <a:pos x="212" y="11"/>
                    </a:cxn>
                    <a:cxn ang="0">
                      <a:pos x="176" y="19"/>
                    </a:cxn>
                    <a:cxn ang="0">
                      <a:pos x="144" y="51"/>
                    </a:cxn>
                    <a:cxn ang="0">
                      <a:pos x="104" y="59"/>
                    </a:cxn>
                    <a:cxn ang="0">
                      <a:pos x="84" y="75"/>
                    </a:cxn>
                    <a:cxn ang="0">
                      <a:pos x="68" y="115"/>
                    </a:cxn>
                    <a:cxn ang="0">
                      <a:pos x="36" y="167"/>
                    </a:cxn>
                    <a:cxn ang="0">
                      <a:pos x="0" y="179"/>
                    </a:cxn>
                    <a:cxn ang="0">
                      <a:pos x="72" y="323"/>
                    </a:cxn>
                    <a:cxn ang="0">
                      <a:pos x="120" y="427"/>
                    </a:cxn>
                    <a:cxn ang="0">
                      <a:pos x="144" y="443"/>
                    </a:cxn>
                    <a:cxn ang="0">
                      <a:pos x="168" y="451"/>
                    </a:cxn>
                    <a:cxn ang="0">
                      <a:pos x="228" y="431"/>
                    </a:cxn>
                    <a:cxn ang="0">
                      <a:pos x="252" y="423"/>
                    </a:cxn>
                    <a:cxn ang="0">
                      <a:pos x="300" y="451"/>
                    </a:cxn>
                    <a:cxn ang="0">
                      <a:pos x="324" y="527"/>
                    </a:cxn>
                    <a:cxn ang="0">
                      <a:pos x="336" y="523"/>
                    </a:cxn>
                    <a:cxn ang="0">
                      <a:pos x="344" y="511"/>
                    </a:cxn>
                    <a:cxn ang="0">
                      <a:pos x="368" y="547"/>
                    </a:cxn>
                    <a:cxn ang="0">
                      <a:pos x="404" y="571"/>
                    </a:cxn>
                    <a:cxn ang="0">
                      <a:pos x="436" y="603"/>
                    </a:cxn>
                    <a:cxn ang="0">
                      <a:pos x="444" y="615"/>
                    </a:cxn>
                    <a:cxn ang="0">
                      <a:pos x="456" y="623"/>
                    </a:cxn>
                    <a:cxn ang="0">
                      <a:pos x="484" y="655"/>
                    </a:cxn>
                    <a:cxn ang="0">
                      <a:pos x="492" y="631"/>
                    </a:cxn>
                    <a:cxn ang="0">
                      <a:pos x="540" y="659"/>
                    </a:cxn>
                    <a:cxn ang="0">
                      <a:pos x="588" y="655"/>
                    </a:cxn>
                    <a:cxn ang="0">
                      <a:pos x="616" y="531"/>
                    </a:cxn>
                    <a:cxn ang="0">
                      <a:pos x="632" y="463"/>
                    </a:cxn>
                    <a:cxn ang="0">
                      <a:pos x="620" y="367"/>
                    </a:cxn>
                    <a:cxn ang="0">
                      <a:pos x="536" y="271"/>
                    </a:cxn>
                    <a:cxn ang="0">
                      <a:pos x="528" y="235"/>
                    </a:cxn>
                    <a:cxn ang="0">
                      <a:pos x="460" y="179"/>
                    </a:cxn>
                    <a:cxn ang="0">
                      <a:pos x="472" y="155"/>
                    </a:cxn>
                    <a:cxn ang="0">
                      <a:pos x="456" y="131"/>
                    </a:cxn>
                    <a:cxn ang="0">
                      <a:pos x="416" y="79"/>
                    </a:cxn>
                    <a:cxn ang="0">
                      <a:pos x="392" y="31"/>
                    </a:cxn>
                    <a:cxn ang="0">
                      <a:pos x="388" y="19"/>
                    </a:cxn>
                    <a:cxn ang="0">
                      <a:pos x="364" y="151"/>
                    </a:cxn>
                    <a:cxn ang="0">
                      <a:pos x="324" y="115"/>
                    </a:cxn>
                    <a:cxn ang="0">
                      <a:pos x="292" y="111"/>
                    </a:cxn>
                    <a:cxn ang="0">
                      <a:pos x="272" y="87"/>
                    </a:cxn>
                    <a:cxn ang="0">
                      <a:pos x="264" y="63"/>
                    </a:cxn>
                    <a:cxn ang="0">
                      <a:pos x="276" y="55"/>
                    </a:cxn>
                    <a:cxn ang="0">
                      <a:pos x="240" y="19"/>
                    </a:cxn>
                    <a:cxn ang="0">
                      <a:pos x="216" y="11"/>
                    </a:cxn>
                    <a:cxn ang="0">
                      <a:pos x="204" y="7"/>
                    </a:cxn>
                    <a:cxn ang="0">
                      <a:pos x="212" y="11"/>
                    </a:cxn>
                  </a:cxnLst>
                  <a:rect l="0" t="0" r="r" b="b"/>
                  <a:pathLst>
                    <a:path w="633" h="660">
                      <a:moveTo>
                        <a:pt x="212" y="11"/>
                      </a:moveTo>
                      <a:cubicBezTo>
                        <a:pt x="195" y="0"/>
                        <a:pt x="187" y="2"/>
                        <a:pt x="176" y="19"/>
                      </a:cubicBezTo>
                      <a:cubicBezTo>
                        <a:pt x="171" y="61"/>
                        <a:pt x="181" y="88"/>
                        <a:pt x="144" y="51"/>
                      </a:cubicBezTo>
                      <a:cubicBezTo>
                        <a:pt x="131" y="53"/>
                        <a:pt x="115" y="51"/>
                        <a:pt x="104" y="59"/>
                      </a:cubicBezTo>
                      <a:cubicBezTo>
                        <a:pt x="78" y="80"/>
                        <a:pt x="114" y="65"/>
                        <a:pt x="84" y="75"/>
                      </a:cubicBezTo>
                      <a:cubicBezTo>
                        <a:pt x="78" y="94"/>
                        <a:pt x="92" y="107"/>
                        <a:pt x="68" y="115"/>
                      </a:cubicBezTo>
                      <a:cubicBezTo>
                        <a:pt x="55" y="135"/>
                        <a:pt x="59" y="159"/>
                        <a:pt x="36" y="167"/>
                      </a:cubicBezTo>
                      <a:cubicBezTo>
                        <a:pt x="16" y="163"/>
                        <a:pt x="7" y="158"/>
                        <a:pt x="0" y="179"/>
                      </a:cubicBezTo>
                      <a:cubicBezTo>
                        <a:pt x="9" y="232"/>
                        <a:pt x="43" y="279"/>
                        <a:pt x="72" y="323"/>
                      </a:cubicBezTo>
                      <a:cubicBezTo>
                        <a:pt x="82" y="371"/>
                        <a:pt x="85" y="392"/>
                        <a:pt x="120" y="427"/>
                      </a:cubicBezTo>
                      <a:cubicBezTo>
                        <a:pt x="127" y="434"/>
                        <a:pt x="136" y="438"/>
                        <a:pt x="144" y="443"/>
                      </a:cubicBezTo>
                      <a:cubicBezTo>
                        <a:pt x="151" y="448"/>
                        <a:pt x="168" y="451"/>
                        <a:pt x="168" y="451"/>
                      </a:cubicBezTo>
                      <a:cubicBezTo>
                        <a:pt x="188" y="444"/>
                        <a:pt x="208" y="438"/>
                        <a:pt x="228" y="431"/>
                      </a:cubicBezTo>
                      <a:cubicBezTo>
                        <a:pt x="236" y="428"/>
                        <a:pt x="252" y="423"/>
                        <a:pt x="252" y="423"/>
                      </a:cubicBezTo>
                      <a:cubicBezTo>
                        <a:pt x="271" y="429"/>
                        <a:pt x="281" y="445"/>
                        <a:pt x="300" y="451"/>
                      </a:cubicBezTo>
                      <a:cubicBezTo>
                        <a:pt x="320" y="471"/>
                        <a:pt x="315" y="500"/>
                        <a:pt x="324" y="527"/>
                      </a:cubicBezTo>
                      <a:cubicBezTo>
                        <a:pt x="328" y="526"/>
                        <a:pt x="333" y="526"/>
                        <a:pt x="336" y="523"/>
                      </a:cubicBezTo>
                      <a:cubicBezTo>
                        <a:pt x="340" y="520"/>
                        <a:pt x="339" y="511"/>
                        <a:pt x="344" y="511"/>
                      </a:cubicBezTo>
                      <a:cubicBezTo>
                        <a:pt x="358" y="511"/>
                        <a:pt x="362" y="541"/>
                        <a:pt x="368" y="547"/>
                      </a:cubicBezTo>
                      <a:cubicBezTo>
                        <a:pt x="378" y="557"/>
                        <a:pt x="392" y="563"/>
                        <a:pt x="404" y="571"/>
                      </a:cubicBezTo>
                      <a:cubicBezTo>
                        <a:pt x="418" y="580"/>
                        <a:pt x="422" y="594"/>
                        <a:pt x="436" y="603"/>
                      </a:cubicBezTo>
                      <a:cubicBezTo>
                        <a:pt x="439" y="607"/>
                        <a:pt x="441" y="612"/>
                        <a:pt x="444" y="615"/>
                      </a:cubicBezTo>
                      <a:cubicBezTo>
                        <a:pt x="447" y="618"/>
                        <a:pt x="453" y="619"/>
                        <a:pt x="456" y="623"/>
                      </a:cubicBezTo>
                      <a:cubicBezTo>
                        <a:pt x="489" y="660"/>
                        <a:pt x="457" y="637"/>
                        <a:pt x="484" y="655"/>
                      </a:cubicBezTo>
                      <a:cubicBezTo>
                        <a:pt x="487" y="647"/>
                        <a:pt x="485" y="626"/>
                        <a:pt x="492" y="631"/>
                      </a:cubicBezTo>
                      <a:cubicBezTo>
                        <a:pt x="509" y="642"/>
                        <a:pt x="522" y="653"/>
                        <a:pt x="540" y="659"/>
                      </a:cubicBezTo>
                      <a:cubicBezTo>
                        <a:pt x="557" y="642"/>
                        <a:pt x="567" y="648"/>
                        <a:pt x="588" y="655"/>
                      </a:cubicBezTo>
                      <a:cubicBezTo>
                        <a:pt x="611" y="621"/>
                        <a:pt x="573" y="560"/>
                        <a:pt x="616" y="531"/>
                      </a:cubicBezTo>
                      <a:cubicBezTo>
                        <a:pt x="632" y="507"/>
                        <a:pt x="629" y="496"/>
                        <a:pt x="632" y="463"/>
                      </a:cubicBezTo>
                      <a:cubicBezTo>
                        <a:pt x="630" y="440"/>
                        <a:pt x="633" y="390"/>
                        <a:pt x="620" y="367"/>
                      </a:cubicBezTo>
                      <a:cubicBezTo>
                        <a:pt x="600" y="332"/>
                        <a:pt x="565" y="300"/>
                        <a:pt x="536" y="271"/>
                      </a:cubicBezTo>
                      <a:cubicBezTo>
                        <a:pt x="532" y="259"/>
                        <a:pt x="532" y="247"/>
                        <a:pt x="528" y="235"/>
                      </a:cubicBezTo>
                      <a:cubicBezTo>
                        <a:pt x="525" y="225"/>
                        <a:pt x="474" y="188"/>
                        <a:pt x="460" y="179"/>
                      </a:cubicBezTo>
                      <a:cubicBezTo>
                        <a:pt x="463" y="171"/>
                        <a:pt x="471" y="164"/>
                        <a:pt x="472" y="155"/>
                      </a:cubicBezTo>
                      <a:cubicBezTo>
                        <a:pt x="474" y="144"/>
                        <a:pt x="461" y="137"/>
                        <a:pt x="456" y="131"/>
                      </a:cubicBezTo>
                      <a:cubicBezTo>
                        <a:pt x="435" y="106"/>
                        <a:pt x="451" y="88"/>
                        <a:pt x="416" y="79"/>
                      </a:cubicBezTo>
                      <a:cubicBezTo>
                        <a:pt x="395" y="48"/>
                        <a:pt x="403" y="64"/>
                        <a:pt x="392" y="31"/>
                      </a:cubicBezTo>
                      <a:cubicBezTo>
                        <a:pt x="391" y="27"/>
                        <a:pt x="388" y="19"/>
                        <a:pt x="388" y="19"/>
                      </a:cubicBezTo>
                      <a:cubicBezTo>
                        <a:pt x="362" y="58"/>
                        <a:pt x="379" y="107"/>
                        <a:pt x="364" y="151"/>
                      </a:cubicBezTo>
                      <a:cubicBezTo>
                        <a:pt x="344" y="144"/>
                        <a:pt x="344" y="120"/>
                        <a:pt x="324" y="115"/>
                      </a:cubicBezTo>
                      <a:cubicBezTo>
                        <a:pt x="314" y="112"/>
                        <a:pt x="303" y="112"/>
                        <a:pt x="292" y="111"/>
                      </a:cubicBezTo>
                      <a:cubicBezTo>
                        <a:pt x="284" y="103"/>
                        <a:pt x="276" y="97"/>
                        <a:pt x="272" y="87"/>
                      </a:cubicBezTo>
                      <a:cubicBezTo>
                        <a:pt x="269" y="79"/>
                        <a:pt x="264" y="63"/>
                        <a:pt x="264" y="63"/>
                      </a:cubicBezTo>
                      <a:cubicBezTo>
                        <a:pt x="268" y="60"/>
                        <a:pt x="273" y="58"/>
                        <a:pt x="276" y="55"/>
                      </a:cubicBezTo>
                      <a:cubicBezTo>
                        <a:pt x="300" y="31"/>
                        <a:pt x="256" y="24"/>
                        <a:pt x="240" y="19"/>
                      </a:cubicBezTo>
                      <a:cubicBezTo>
                        <a:pt x="232" y="16"/>
                        <a:pt x="224" y="14"/>
                        <a:pt x="216" y="11"/>
                      </a:cubicBezTo>
                      <a:cubicBezTo>
                        <a:pt x="212" y="10"/>
                        <a:pt x="200" y="5"/>
                        <a:pt x="204" y="7"/>
                      </a:cubicBezTo>
                      <a:cubicBezTo>
                        <a:pt x="207" y="8"/>
                        <a:pt x="209" y="10"/>
                        <a:pt x="212" y="11"/>
                      </a:cubicBezTo>
                      <a:close/>
                    </a:path>
                  </a:pathLst>
                </a:custGeom>
                <a:solidFill>
                  <a:srgbClr val="C0C0C0"/>
                </a:solidFill>
                <a:ln w="6350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>
                  <a:outerShdw dist="28398" dir="3806097" algn="ctr" rotWithShape="0">
                    <a:srgbClr val="333333">
                      <a:alpha val="50000"/>
                    </a:srgbClr>
                  </a:outerShdw>
                </a:effectLst>
              </p:spPr>
              <p:txBody>
                <a:bodyPr/>
                <a:lstStyle/>
                <a:p>
                  <a:pPr>
                    <a:defRPr/>
                  </a:pPr>
                  <a:endParaRPr lang="zh-CN" altLang="en-US"/>
                </a:p>
              </p:txBody>
            </p:sp>
            <p:sp>
              <p:nvSpPr>
                <p:cNvPr id="131" name="Freeform 38"/>
                <p:cNvSpPr>
                  <a:spLocks/>
                </p:cNvSpPr>
                <p:nvPr/>
              </p:nvSpPr>
              <p:spPr bwMode="blackWhite">
                <a:xfrm>
                  <a:off x="4246" y="3241"/>
                  <a:ext cx="319" cy="210"/>
                </a:xfrm>
                <a:custGeom>
                  <a:avLst/>
                  <a:gdLst>
                    <a:gd name="T0" fmla="*/ 63 w 426"/>
                    <a:gd name="T1" fmla="*/ 45 h 280"/>
                    <a:gd name="T2" fmla="*/ 51 w 426"/>
                    <a:gd name="T3" fmla="*/ 27 h 280"/>
                    <a:gd name="T4" fmla="*/ 48 w 426"/>
                    <a:gd name="T5" fmla="*/ 12 h 280"/>
                    <a:gd name="T6" fmla="*/ 39 w 426"/>
                    <a:gd name="T7" fmla="*/ 9 h 280"/>
                    <a:gd name="T8" fmla="*/ 12 w 426"/>
                    <a:gd name="T9" fmla="*/ 12 h 280"/>
                    <a:gd name="T10" fmla="*/ 33 w 426"/>
                    <a:gd name="T11" fmla="*/ 30 h 280"/>
                    <a:gd name="T12" fmla="*/ 36 w 426"/>
                    <a:gd name="T13" fmla="*/ 39 h 280"/>
                    <a:gd name="T14" fmla="*/ 18 w 426"/>
                    <a:gd name="T15" fmla="*/ 51 h 280"/>
                    <a:gd name="T16" fmla="*/ 66 w 426"/>
                    <a:gd name="T17" fmla="*/ 69 h 280"/>
                    <a:gd name="T18" fmla="*/ 93 w 426"/>
                    <a:gd name="T19" fmla="*/ 84 h 280"/>
                    <a:gd name="T20" fmla="*/ 96 w 426"/>
                    <a:gd name="T21" fmla="*/ 93 h 280"/>
                    <a:gd name="T22" fmla="*/ 105 w 426"/>
                    <a:gd name="T23" fmla="*/ 99 h 280"/>
                    <a:gd name="T24" fmla="*/ 111 w 426"/>
                    <a:gd name="T25" fmla="*/ 117 h 280"/>
                    <a:gd name="T26" fmla="*/ 99 w 426"/>
                    <a:gd name="T27" fmla="*/ 147 h 280"/>
                    <a:gd name="T28" fmla="*/ 135 w 426"/>
                    <a:gd name="T29" fmla="*/ 141 h 280"/>
                    <a:gd name="T30" fmla="*/ 144 w 426"/>
                    <a:gd name="T31" fmla="*/ 162 h 280"/>
                    <a:gd name="T32" fmla="*/ 162 w 426"/>
                    <a:gd name="T33" fmla="*/ 168 h 280"/>
                    <a:gd name="T34" fmla="*/ 171 w 426"/>
                    <a:gd name="T35" fmla="*/ 171 h 280"/>
                    <a:gd name="T36" fmla="*/ 189 w 426"/>
                    <a:gd name="T37" fmla="*/ 168 h 280"/>
                    <a:gd name="T38" fmla="*/ 207 w 426"/>
                    <a:gd name="T39" fmla="*/ 147 h 280"/>
                    <a:gd name="T40" fmla="*/ 252 w 426"/>
                    <a:gd name="T41" fmla="*/ 189 h 280"/>
                    <a:gd name="T42" fmla="*/ 273 w 426"/>
                    <a:gd name="T43" fmla="*/ 210 h 280"/>
                    <a:gd name="T44" fmla="*/ 270 w 426"/>
                    <a:gd name="T45" fmla="*/ 168 h 280"/>
                    <a:gd name="T46" fmla="*/ 252 w 426"/>
                    <a:gd name="T47" fmla="*/ 150 h 280"/>
                    <a:gd name="T48" fmla="*/ 279 w 426"/>
                    <a:gd name="T49" fmla="*/ 126 h 280"/>
                    <a:gd name="T50" fmla="*/ 306 w 426"/>
                    <a:gd name="T51" fmla="*/ 117 h 280"/>
                    <a:gd name="T52" fmla="*/ 315 w 426"/>
                    <a:gd name="T53" fmla="*/ 114 h 280"/>
                    <a:gd name="T54" fmla="*/ 318 w 426"/>
                    <a:gd name="T55" fmla="*/ 105 h 280"/>
                    <a:gd name="T56" fmla="*/ 267 w 426"/>
                    <a:gd name="T57" fmla="*/ 111 h 280"/>
                    <a:gd name="T58" fmla="*/ 228 w 426"/>
                    <a:gd name="T59" fmla="*/ 105 h 280"/>
                    <a:gd name="T60" fmla="*/ 225 w 426"/>
                    <a:gd name="T61" fmla="*/ 96 h 280"/>
                    <a:gd name="T62" fmla="*/ 219 w 426"/>
                    <a:gd name="T63" fmla="*/ 87 h 280"/>
                    <a:gd name="T64" fmla="*/ 165 w 426"/>
                    <a:gd name="T65" fmla="*/ 60 h 280"/>
                    <a:gd name="T66" fmla="*/ 120 w 426"/>
                    <a:gd name="T67" fmla="*/ 45 h 280"/>
                    <a:gd name="T68" fmla="*/ 102 w 426"/>
                    <a:gd name="T69" fmla="*/ 39 h 280"/>
                    <a:gd name="T70" fmla="*/ 60 w 426"/>
                    <a:gd name="T71" fmla="*/ 39 h 280"/>
                    <a:gd name="T72" fmla="*/ 51 w 426"/>
                    <a:gd name="T73" fmla="*/ 24 h 280"/>
                    <a:gd name="T74" fmla="*/ 51 w 426"/>
                    <a:gd name="T75" fmla="*/ 0 h 280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w 426"/>
                    <a:gd name="T115" fmla="*/ 0 h 280"/>
                    <a:gd name="T116" fmla="*/ 426 w 426"/>
                    <a:gd name="T117" fmla="*/ 280 h 280"/>
                  </a:gdLst>
                  <a:ahLst/>
                  <a:cxnLst>
                    <a:cxn ang="T76">
                      <a:pos x="T0" y="T1"/>
                    </a:cxn>
                    <a:cxn ang="T77">
                      <a:pos x="T2" y="T3"/>
                    </a:cxn>
                    <a:cxn ang="T78">
                      <a:pos x="T4" y="T5"/>
                    </a:cxn>
                    <a:cxn ang="T79">
                      <a:pos x="T6" y="T7"/>
                    </a:cxn>
                    <a:cxn ang="T80">
                      <a:pos x="T8" y="T9"/>
                    </a:cxn>
                    <a:cxn ang="T81">
                      <a:pos x="T10" y="T11"/>
                    </a:cxn>
                    <a:cxn ang="T82">
                      <a:pos x="T12" y="T13"/>
                    </a:cxn>
                    <a:cxn ang="T83">
                      <a:pos x="T14" y="T15"/>
                    </a:cxn>
                    <a:cxn ang="T84">
                      <a:pos x="T16" y="T17"/>
                    </a:cxn>
                    <a:cxn ang="T85">
                      <a:pos x="T18" y="T19"/>
                    </a:cxn>
                    <a:cxn ang="T86">
                      <a:pos x="T20" y="T21"/>
                    </a:cxn>
                    <a:cxn ang="T87">
                      <a:pos x="T22" y="T23"/>
                    </a:cxn>
                    <a:cxn ang="T88">
                      <a:pos x="T24" y="T25"/>
                    </a:cxn>
                    <a:cxn ang="T89">
                      <a:pos x="T26" y="T27"/>
                    </a:cxn>
                    <a:cxn ang="T90">
                      <a:pos x="T28" y="T29"/>
                    </a:cxn>
                    <a:cxn ang="T91">
                      <a:pos x="T30" y="T31"/>
                    </a:cxn>
                    <a:cxn ang="T92">
                      <a:pos x="T32" y="T33"/>
                    </a:cxn>
                    <a:cxn ang="T93">
                      <a:pos x="T34" y="T35"/>
                    </a:cxn>
                    <a:cxn ang="T94">
                      <a:pos x="T36" y="T37"/>
                    </a:cxn>
                    <a:cxn ang="T95">
                      <a:pos x="T38" y="T39"/>
                    </a:cxn>
                    <a:cxn ang="T96">
                      <a:pos x="T40" y="T41"/>
                    </a:cxn>
                    <a:cxn ang="T97">
                      <a:pos x="T42" y="T43"/>
                    </a:cxn>
                    <a:cxn ang="T98">
                      <a:pos x="T44" y="T45"/>
                    </a:cxn>
                    <a:cxn ang="T99">
                      <a:pos x="T46" y="T47"/>
                    </a:cxn>
                    <a:cxn ang="T100">
                      <a:pos x="T48" y="T49"/>
                    </a:cxn>
                    <a:cxn ang="T101">
                      <a:pos x="T50" y="T51"/>
                    </a:cxn>
                    <a:cxn ang="T102">
                      <a:pos x="T52" y="T53"/>
                    </a:cxn>
                    <a:cxn ang="T103">
                      <a:pos x="T54" y="T55"/>
                    </a:cxn>
                    <a:cxn ang="T104">
                      <a:pos x="T56" y="T57"/>
                    </a:cxn>
                    <a:cxn ang="T105">
                      <a:pos x="T58" y="T59"/>
                    </a:cxn>
                    <a:cxn ang="T106">
                      <a:pos x="T60" y="T61"/>
                    </a:cxn>
                    <a:cxn ang="T107">
                      <a:pos x="T62" y="T63"/>
                    </a:cxn>
                    <a:cxn ang="T108">
                      <a:pos x="T64" y="T65"/>
                    </a:cxn>
                    <a:cxn ang="T109">
                      <a:pos x="T66" y="T67"/>
                    </a:cxn>
                    <a:cxn ang="T110">
                      <a:pos x="T68" y="T69"/>
                    </a:cxn>
                    <a:cxn ang="T111">
                      <a:pos x="T70" y="T71"/>
                    </a:cxn>
                    <a:cxn ang="T112">
                      <a:pos x="T72" y="T73"/>
                    </a:cxn>
                    <a:cxn ang="T113">
                      <a:pos x="T74" y="T75"/>
                    </a:cxn>
                  </a:cxnLst>
                  <a:rect l="T114" t="T115" r="T116" b="T117"/>
                  <a:pathLst>
                    <a:path w="426" h="280">
                      <a:moveTo>
                        <a:pt x="84" y="60"/>
                      </a:moveTo>
                      <a:cubicBezTo>
                        <a:pt x="79" y="52"/>
                        <a:pt x="70" y="45"/>
                        <a:pt x="68" y="36"/>
                      </a:cubicBezTo>
                      <a:cubicBezTo>
                        <a:pt x="67" y="29"/>
                        <a:pt x="68" y="22"/>
                        <a:pt x="64" y="16"/>
                      </a:cubicBezTo>
                      <a:cubicBezTo>
                        <a:pt x="62" y="12"/>
                        <a:pt x="56" y="13"/>
                        <a:pt x="52" y="12"/>
                      </a:cubicBezTo>
                      <a:cubicBezTo>
                        <a:pt x="40" y="13"/>
                        <a:pt x="27" y="11"/>
                        <a:pt x="16" y="16"/>
                      </a:cubicBezTo>
                      <a:cubicBezTo>
                        <a:pt x="0" y="24"/>
                        <a:pt x="43" y="40"/>
                        <a:pt x="44" y="40"/>
                      </a:cubicBezTo>
                      <a:cubicBezTo>
                        <a:pt x="45" y="44"/>
                        <a:pt x="50" y="49"/>
                        <a:pt x="48" y="52"/>
                      </a:cubicBezTo>
                      <a:cubicBezTo>
                        <a:pt x="42" y="60"/>
                        <a:pt x="24" y="68"/>
                        <a:pt x="24" y="68"/>
                      </a:cubicBezTo>
                      <a:cubicBezTo>
                        <a:pt x="38" y="88"/>
                        <a:pt x="65" y="89"/>
                        <a:pt x="88" y="92"/>
                      </a:cubicBezTo>
                      <a:cubicBezTo>
                        <a:pt x="101" y="96"/>
                        <a:pt x="124" y="112"/>
                        <a:pt x="124" y="112"/>
                      </a:cubicBezTo>
                      <a:cubicBezTo>
                        <a:pt x="125" y="116"/>
                        <a:pt x="125" y="121"/>
                        <a:pt x="128" y="124"/>
                      </a:cubicBezTo>
                      <a:cubicBezTo>
                        <a:pt x="131" y="128"/>
                        <a:pt x="137" y="128"/>
                        <a:pt x="140" y="132"/>
                      </a:cubicBezTo>
                      <a:cubicBezTo>
                        <a:pt x="144" y="139"/>
                        <a:pt x="148" y="156"/>
                        <a:pt x="148" y="156"/>
                      </a:cubicBezTo>
                      <a:cubicBezTo>
                        <a:pt x="144" y="171"/>
                        <a:pt x="137" y="181"/>
                        <a:pt x="132" y="196"/>
                      </a:cubicBezTo>
                      <a:cubicBezTo>
                        <a:pt x="151" y="209"/>
                        <a:pt x="167" y="207"/>
                        <a:pt x="180" y="188"/>
                      </a:cubicBezTo>
                      <a:cubicBezTo>
                        <a:pt x="182" y="196"/>
                        <a:pt x="184" y="211"/>
                        <a:pt x="192" y="216"/>
                      </a:cubicBezTo>
                      <a:cubicBezTo>
                        <a:pt x="199" y="220"/>
                        <a:pt x="208" y="221"/>
                        <a:pt x="216" y="224"/>
                      </a:cubicBezTo>
                      <a:cubicBezTo>
                        <a:pt x="220" y="225"/>
                        <a:pt x="228" y="228"/>
                        <a:pt x="228" y="228"/>
                      </a:cubicBezTo>
                      <a:cubicBezTo>
                        <a:pt x="236" y="227"/>
                        <a:pt x="245" y="228"/>
                        <a:pt x="252" y="224"/>
                      </a:cubicBezTo>
                      <a:cubicBezTo>
                        <a:pt x="269" y="216"/>
                        <a:pt x="252" y="204"/>
                        <a:pt x="276" y="196"/>
                      </a:cubicBezTo>
                      <a:cubicBezTo>
                        <a:pt x="296" y="209"/>
                        <a:pt x="322" y="231"/>
                        <a:pt x="336" y="252"/>
                      </a:cubicBezTo>
                      <a:cubicBezTo>
                        <a:pt x="354" y="280"/>
                        <a:pt x="343" y="273"/>
                        <a:pt x="364" y="280"/>
                      </a:cubicBezTo>
                      <a:cubicBezTo>
                        <a:pt x="376" y="262"/>
                        <a:pt x="375" y="241"/>
                        <a:pt x="360" y="224"/>
                      </a:cubicBezTo>
                      <a:cubicBezTo>
                        <a:pt x="352" y="216"/>
                        <a:pt x="336" y="200"/>
                        <a:pt x="336" y="200"/>
                      </a:cubicBezTo>
                      <a:cubicBezTo>
                        <a:pt x="323" y="162"/>
                        <a:pt x="322" y="174"/>
                        <a:pt x="372" y="168"/>
                      </a:cubicBezTo>
                      <a:cubicBezTo>
                        <a:pt x="384" y="164"/>
                        <a:pt x="396" y="160"/>
                        <a:pt x="408" y="156"/>
                      </a:cubicBezTo>
                      <a:cubicBezTo>
                        <a:pt x="412" y="155"/>
                        <a:pt x="420" y="152"/>
                        <a:pt x="420" y="152"/>
                      </a:cubicBezTo>
                      <a:cubicBezTo>
                        <a:pt x="421" y="148"/>
                        <a:pt x="426" y="144"/>
                        <a:pt x="424" y="140"/>
                      </a:cubicBezTo>
                      <a:cubicBezTo>
                        <a:pt x="420" y="131"/>
                        <a:pt x="365" y="146"/>
                        <a:pt x="356" y="148"/>
                      </a:cubicBezTo>
                      <a:cubicBezTo>
                        <a:pt x="339" y="146"/>
                        <a:pt x="316" y="152"/>
                        <a:pt x="304" y="140"/>
                      </a:cubicBezTo>
                      <a:cubicBezTo>
                        <a:pt x="301" y="137"/>
                        <a:pt x="302" y="132"/>
                        <a:pt x="300" y="128"/>
                      </a:cubicBezTo>
                      <a:cubicBezTo>
                        <a:pt x="298" y="124"/>
                        <a:pt x="296" y="119"/>
                        <a:pt x="292" y="116"/>
                      </a:cubicBezTo>
                      <a:cubicBezTo>
                        <a:pt x="272" y="98"/>
                        <a:pt x="244" y="91"/>
                        <a:pt x="220" y="80"/>
                      </a:cubicBezTo>
                      <a:cubicBezTo>
                        <a:pt x="201" y="72"/>
                        <a:pt x="180" y="67"/>
                        <a:pt x="160" y="60"/>
                      </a:cubicBezTo>
                      <a:cubicBezTo>
                        <a:pt x="152" y="57"/>
                        <a:pt x="136" y="52"/>
                        <a:pt x="136" y="52"/>
                      </a:cubicBezTo>
                      <a:cubicBezTo>
                        <a:pt x="113" y="55"/>
                        <a:pt x="98" y="64"/>
                        <a:pt x="80" y="52"/>
                      </a:cubicBezTo>
                      <a:cubicBezTo>
                        <a:pt x="70" y="38"/>
                        <a:pt x="74" y="44"/>
                        <a:pt x="68" y="32"/>
                      </a:cubicBezTo>
                      <a:lnTo>
                        <a:pt x="68" y="0"/>
                      </a:lnTo>
                    </a:path>
                  </a:pathLst>
                </a:custGeom>
                <a:solidFill>
                  <a:srgbClr val="C0C0C0"/>
                </a:solidFill>
                <a:ln w="6350">
                  <a:noFill/>
                  <a:round/>
                  <a:headEnd/>
                  <a:tailEnd/>
                </a:ln>
                <a:effectLst>
                  <a:prstShdw prst="shdw17" dist="12700" dir="5400000">
                    <a:srgbClr val="333333">
                      <a:alpha val="50000"/>
                    </a:srgbClr>
                  </a:prstShdw>
                </a:effectLst>
              </p:spPr>
              <p:txBody>
                <a:bodyPr/>
                <a:lstStyle/>
                <a:p>
                  <a:endParaRPr lang="zh-CN" altLang="en-US"/>
                </a:p>
              </p:txBody>
            </p:sp>
            <p:sp>
              <p:nvSpPr>
                <p:cNvPr id="132" name="Freeform 39"/>
                <p:cNvSpPr>
                  <a:spLocks/>
                </p:cNvSpPr>
                <p:nvPr/>
              </p:nvSpPr>
              <p:spPr bwMode="blackWhite">
                <a:xfrm>
                  <a:off x="4255" y="3242"/>
                  <a:ext cx="311" cy="210"/>
                </a:xfrm>
                <a:custGeom>
                  <a:avLst/>
                  <a:gdLst/>
                  <a:ahLst/>
                  <a:cxnLst>
                    <a:cxn ang="0">
                      <a:pos x="0" y="1"/>
                    </a:cxn>
                    <a:cxn ang="0">
                      <a:pos x="20" y="37"/>
                    </a:cxn>
                    <a:cxn ang="0">
                      <a:pos x="28" y="49"/>
                    </a:cxn>
                    <a:cxn ang="0">
                      <a:pos x="84" y="89"/>
                    </a:cxn>
                    <a:cxn ang="0">
                      <a:pos x="120" y="113"/>
                    </a:cxn>
                    <a:cxn ang="0">
                      <a:pos x="132" y="121"/>
                    </a:cxn>
                    <a:cxn ang="0">
                      <a:pos x="136" y="169"/>
                    </a:cxn>
                    <a:cxn ang="0">
                      <a:pos x="116" y="201"/>
                    </a:cxn>
                    <a:cxn ang="0">
                      <a:pos x="136" y="197"/>
                    </a:cxn>
                    <a:cxn ang="0">
                      <a:pos x="148" y="189"/>
                    </a:cxn>
                    <a:cxn ang="0">
                      <a:pos x="160" y="201"/>
                    </a:cxn>
                    <a:cxn ang="0">
                      <a:pos x="184" y="217"/>
                    </a:cxn>
                    <a:cxn ang="0">
                      <a:pos x="208" y="233"/>
                    </a:cxn>
                    <a:cxn ang="0">
                      <a:pos x="240" y="221"/>
                    </a:cxn>
                    <a:cxn ang="0">
                      <a:pos x="248" y="197"/>
                    </a:cxn>
                    <a:cxn ang="0">
                      <a:pos x="268" y="201"/>
                    </a:cxn>
                    <a:cxn ang="0">
                      <a:pos x="292" y="209"/>
                    </a:cxn>
                    <a:cxn ang="0">
                      <a:pos x="340" y="281"/>
                    </a:cxn>
                    <a:cxn ang="0">
                      <a:pos x="356" y="277"/>
                    </a:cxn>
                    <a:cxn ang="0">
                      <a:pos x="352" y="253"/>
                    </a:cxn>
                    <a:cxn ang="0">
                      <a:pos x="316" y="197"/>
                    </a:cxn>
                    <a:cxn ang="0">
                      <a:pos x="360" y="173"/>
                    </a:cxn>
                    <a:cxn ang="0">
                      <a:pos x="408" y="145"/>
                    </a:cxn>
                    <a:cxn ang="0">
                      <a:pos x="409" y="120"/>
                    </a:cxn>
                    <a:cxn ang="0">
                      <a:pos x="367" y="138"/>
                    </a:cxn>
                    <a:cxn ang="0">
                      <a:pos x="308" y="137"/>
                    </a:cxn>
                    <a:cxn ang="0">
                      <a:pos x="264" y="97"/>
                    </a:cxn>
                    <a:cxn ang="0">
                      <a:pos x="180" y="61"/>
                    </a:cxn>
                    <a:cxn ang="0">
                      <a:pos x="132" y="33"/>
                    </a:cxn>
                    <a:cxn ang="0">
                      <a:pos x="92" y="41"/>
                    </a:cxn>
                    <a:cxn ang="0">
                      <a:pos x="76" y="57"/>
                    </a:cxn>
                    <a:cxn ang="0">
                      <a:pos x="56" y="17"/>
                    </a:cxn>
                    <a:cxn ang="0">
                      <a:pos x="0" y="1"/>
                    </a:cxn>
                  </a:cxnLst>
                  <a:rect l="0" t="0" r="r" b="b"/>
                  <a:pathLst>
                    <a:path w="416" h="282">
                      <a:moveTo>
                        <a:pt x="0" y="1"/>
                      </a:moveTo>
                      <a:cubicBezTo>
                        <a:pt x="7" y="22"/>
                        <a:pt x="2" y="9"/>
                        <a:pt x="20" y="37"/>
                      </a:cubicBezTo>
                      <a:cubicBezTo>
                        <a:pt x="23" y="41"/>
                        <a:pt x="28" y="49"/>
                        <a:pt x="28" y="49"/>
                      </a:cubicBezTo>
                      <a:cubicBezTo>
                        <a:pt x="5" y="84"/>
                        <a:pt x="65" y="78"/>
                        <a:pt x="84" y="89"/>
                      </a:cubicBezTo>
                      <a:cubicBezTo>
                        <a:pt x="97" y="96"/>
                        <a:pt x="108" y="105"/>
                        <a:pt x="120" y="113"/>
                      </a:cubicBezTo>
                      <a:cubicBezTo>
                        <a:pt x="124" y="116"/>
                        <a:pt x="132" y="121"/>
                        <a:pt x="132" y="121"/>
                      </a:cubicBezTo>
                      <a:cubicBezTo>
                        <a:pt x="138" y="138"/>
                        <a:pt x="132" y="151"/>
                        <a:pt x="136" y="169"/>
                      </a:cubicBezTo>
                      <a:cubicBezTo>
                        <a:pt x="107" y="188"/>
                        <a:pt x="110" y="176"/>
                        <a:pt x="116" y="201"/>
                      </a:cubicBezTo>
                      <a:cubicBezTo>
                        <a:pt x="123" y="200"/>
                        <a:pt x="130" y="199"/>
                        <a:pt x="136" y="197"/>
                      </a:cubicBezTo>
                      <a:cubicBezTo>
                        <a:pt x="141" y="195"/>
                        <a:pt x="143" y="188"/>
                        <a:pt x="148" y="189"/>
                      </a:cubicBezTo>
                      <a:cubicBezTo>
                        <a:pt x="154" y="190"/>
                        <a:pt x="156" y="198"/>
                        <a:pt x="160" y="201"/>
                      </a:cubicBezTo>
                      <a:cubicBezTo>
                        <a:pt x="168" y="207"/>
                        <a:pt x="176" y="212"/>
                        <a:pt x="184" y="217"/>
                      </a:cubicBezTo>
                      <a:cubicBezTo>
                        <a:pt x="192" y="222"/>
                        <a:pt x="208" y="233"/>
                        <a:pt x="208" y="233"/>
                      </a:cubicBezTo>
                      <a:cubicBezTo>
                        <a:pt x="216" y="231"/>
                        <a:pt x="234" y="230"/>
                        <a:pt x="240" y="221"/>
                      </a:cubicBezTo>
                      <a:cubicBezTo>
                        <a:pt x="244" y="214"/>
                        <a:pt x="248" y="197"/>
                        <a:pt x="248" y="197"/>
                      </a:cubicBezTo>
                      <a:cubicBezTo>
                        <a:pt x="255" y="198"/>
                        <a:pt x="261" y="199"/>
                        <a:pt x="268" y="201"/>
                      </a:cubicBezTo>
                      <a:cubicBezTo>
                        <a:pt x="276" y="203"/>
                        <a:pt x="292" y="209"/>
                        <a:pt x="292" y="209"/>
                      </a:cubicBezTo>
                      <a:cubicBezTo>
                        <a:pt x="298" y="242"/>
                        <a:pt x="306" y="270"/>
                        <a:pt x="340" y="281"/>
                      </a:cubicBezTo>
                      <a:cubicBezTo>
                        <a:pt x="345" y="280"/>
                        <a:pt x="354" y="282"/>
                        <a:pt x="356" y="277"/>
                      </a:cubicBezTo>
                      <a:cubicBezTo>
                        <a:pt x="359" y="270"/>
                        <a:pt x="355" y="260"/>
                        <a:pt x="352" y="253"/>
                      </a:cubicBezTo>
                      <a:cubicBezTo>
                        <a:pt x="346" y="238"/>
                        <a:pt x="329" y="206"/>
                        <a:pt x="316" y="197"/>
                      </a:cubicBezTo>
                      <a:cubicBezTo>
                        <a:pt x="307" y="170"/>
                        <a:pt x="339" y="175"/>
                        <a:pt x="360" y="173"/>
                      </a:cubicBezTo>
                      <a:cubicBezTo>
                        <a:pt x="383" y="165"/>
                        <a:pt x="391" y="162"/>
                        <a:pt x="408" y="145"/>
                      </a:cubicBezTo>
                      <a:cubicBezTo>
                        <a:pt x="412" y="140"/>
                        <a:pt x="416" y="121"/>
                        <a:pt x="409" y="120"/>
                      </a:cubicBezTo>
                      <a:cubicBezTo>
                        <a:pt x="402" y="119"/>
                        <a:pt x="384" y="135"/>
                        <a:pt x="367" y="138"/>
                      </a:cubicBezTo>
                      <a:cubicBezTo>
                        <a:pt x="350" y="141"/>
                        <a:pt x="325" y="144"/>
                        <a:pt x="308" y="137"/>
                      </a:cubicBezTo>
                      <a:cubicBezTo>
                        <a:pt x="286" y="130"/>
                        <a:pt x="284" y="111"/>
                        <a:pt x="264" y="97"/>
                      </a:cubicBezTo>
                      <a:cubicBezTo>
                        <a:pt x="238" y="80"/>
                        <a:pt x="203" y="76"/>
                        <a:pt x="180" y="61"/>
                      </a:cubicBezTo>
                      <a:cubicBezTo>
                        <a:pt x="163" y="50"/>
                        <a:pt x="150" y="39"/>
                        <a:pt x="132" y="33"/>
                      </a:cubicBezTo>
                      <a:cubicBezTo>
                        <a:pt x="119" y="35"/>
                        <a:pt x="102" y="31"/>
                        <a:pt x="92" y="41"/>
                      </a:cubicBezTo>
                      <a:cubicBezTo>
                        <a:pt x="71" y="62"/>
                        <a:pt x="108" y="46"/>
                        <a:pt x="76" y="57"/>
                      </a:cubicBezTo>
                      <a:cubicBezTo>
                        <a:pt x="52" y="49"/>
                        <a:pt x="67" y="38"/>
                        <a:pt x="56" y="17"/>
                      </a:cubicBezTo>
                      <a:cubicBezTo>
                        <a:pt x="48" y="0"/>
                        <a:pt x="16" y="1"/>
                        <a:pt x="0" y="1"/>
                      </a:cubicBezTo>
                      <a:close/>
                    </a:path>
                  </a:pathLst>
                </a:custGeom>
                <a:solidFill>
                  <a:srgbClr val="C0C0C0"/>
                </a:solidFill>
                <a:ln w="6350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>
                  <a:outerShdw dist="28398" dir="3806097" algn="ctr" rotWithShape="0">
                    <a:srgbClr val="333333">
                      <a:alpha val="50000"/>
                    </a:srgbClr>
                  </a:outerShdw>
                </a:effectLst>
              </p:spPr>
              <p:txBody>
                <a:bodyPr/>
                <a:lstStyle/>
                <a:p>
                  <a:pPr>
                    <a:defRPr/>
                  </a:pPr>
                  <a:endParaRPr lang="zh-CN" altLang="en-US"/>
                </a:p>
              </p:txBody>
            </p:sp>
            <p:sp>
              <p:nvSpPr>
                <p:cNvPr id="133" name="Freeform 40"/>
                <p:cNvSpPr>
                  <a:spLocks/>
                </p:cNvSpPr>
                <p:nvPr/>
              </p:nvSpPr>
              <p:spPr bwMode="blackWhite">
                <a:xfrm>
                  <a:off x="4485" y="4013"/>
                  <a:ext cx="46" cy="58"/>
                </a:xfrm>
                <a:custGeom>
                  <a:avLst/>
                  <a:gdLst/>
                  <a:ahLst/>
                  <a:cxnLst>
                    <a:cxn ang="0">
                      <a:pos x="32" y="18"/>
                    </a:cxn>
                    <a:cxn ang="0">
                      <a:pos x="0" y="18"/>
                    </a:cxn>
                    <a:cxn ang="0">
                      <a:pos x="20" y="42"/>
                    </a:cxn>
                    <a:cxn ang="0">
                      <a:pos x="28" y="66"/>
                    </a:cxn>
                    <a:cxn ang="0">
                      <a:pos x="32" y="78"/>
                    </a:cxn>
                    <a:cxn ang="0">
                      <a:pos x="60" y="50"/>
                    </a:cxn>
                    <a:cxn ang="0">
                      <a:pos x="32" y="18"/>
                    </a:cxn>
                  </a:cxnLst>
                  <a:rect l="0" t="0" r="r" b="b"/>
                  <a:pathLst>
                    <a:path w="60" h="78">
                      <a:moveTo>
                        <a:pt x="32" y="18"/>
                      </a:moveTo>
                      <a:cubicBezTo>
                        <a:pt x="16" y="7"/>
                        <a:pt x="12" y="0"/>
                        <a:pt x="0" y="18"/>
                      </a:cubicBezTo>
                      <a:cubicBezTo>
                        <a:pt x="6" y="27"/>
                        <a:pt x="15" y="33"/>
                        <a:pt x="20" y="42"/>
                      </a:cubicBezTo>
                      <a:cubicBezTo>
                        <a:pt x="24" y="49"/>
                        <a:pt x="25" y="58"/>
                        <a:pt x="28" y="66"/>
                      </a:cubicBezTo>
                      <a:cubicBezTo>
                        <a:pt x="29" y="70"/>
                        <a:pt x="32" y="78"/>
                        <a:pt x="32" y="78"/>
                      </a:cubicBezTo>
                      <a:cubicBezTo>
                        <a:pt x="52" y="73"/>
                        <a:pt x="54" y="69"/>
                        <a:pt x="60" y="50"/>
                      </a:cubicBezTo>
                      <a:cubicBezTo>
                        <a:pt x="54" y="32"/>
                        <a:pt x="50" y="27"/>
                        <a:pt x="32" y="18"/>
                      </a:cubicBezTo>
                      <a:close/>
                    </a:path>
                  </a:pathLst>
                </a:custGeom>
                <a:solidFill>
                  <a:srgbClr val="C0C0C0"/>
                </a:solidFill>
                <a:ln w="6350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>
                  <a:outerShdw dist="28398" dir="3806097" algn="ctr" rotWithShape="0">
                    <a:srgbClr val="333333">
                      <a:alpha val="50000"/>
                    </a:srgbClr>
                  </a:outerShdw>
                </a:effectLst>
              </p:spPr>
              <p:txBody>
                <a:bodyPr/>
                <a:lstStyle/>
                <a:p>
                  <a:pPr>
                    <a:defRPr/>
                  </a:pPr>
                  <a:endParaRPr lang="zh-CN" altLang="en-US"/>
                </a:p>
              </p:txBody>
            </p:sp>
            <p:sp>
              <p:nvSpPr>
                <p:cNvPr id="134" name="Freeform 41"/>
                <p:cNvSpPr>
                  <a:spLocks/>
                </p:cNvSpPr>
                <p:nvPr/>
              </p:nvSpPr>
              <p:spPr bwMode="blackWhite">
                <a:xfrm>
                  <a:off x="4621" y="3923"/>
                  <a:ext cx="164" cy="85"/>
                </a:xfrm>
                <a:custGeom>
                  <a:avLst/>
                  <a:gdLst/>
                  <a:ahLst/>
                  <a:cxnLst>
                    <a:cxn ang="0">
                      <a:pos x="47" y="73"/>
                    </a:cxn>
                    <a:cxn ang="0">
                      <a:pos x="39" y="61"/>
                    </a:cxn>
                    <a:cxn ang="0">
                      <a:pos x="15" y="69"/>
                    </a:cxn>
                    <a:cxn ang="0">
                      <a:pos x="39" y="113"/>
                    </a:cxn>
                    <a:cxn ang="0">
                      <a:pos x="123" y="89"/>
                    </a:cxn>
                    <a:cxn ang="0">
                      <a:pos x="147" y="73"/>
                    </a:cxn>
                    <a:cxn ang="0">
                      <a:pos x="171" y="65"/>
                    </a:cxn>
                    <a:cxn ang="0">
                      <a:pos x="219" y="19"/>
                    </a:cxn>
                    <a:cxn ang="0">
                      <a:pos x="210" y="0"/>
                    </a:cxn>
                    <a:cxn ang="0">
                      <a:pos x="179" y="17"/>
                    </a:cxn>
                    <a:cxn ang="0">
                      <a:pos x="107" y="41"/>
                    </a:cxn>
                    <a:cxn ang="0">
                      <a:pos x="83" y="45"/>
                    </a:cxn>
                    <a:cxn ang="0">
                      <a:pos x="59" y="53"/>
                    </a:cxn>
                    <a:cxn ang="0">
                      <a:pos x="47" y="73"/>
                    </a:cxn>
                  </a:cxnLst>
                  <a:rect l="0" t="0" r="r" b="b"/>
                  <a:pathLst>
                    <a:path w="219" h="113">
                      <a:moveTo>
                        <a:pt x="47" y="73"/>
                      </a:moveTo>
                      <a:cubicBezTo>
                        <a:pt x="44" y="69"/>
                        <a:pt x="44" y="62"/>
                        <a:pt x="39" y="61"/>
                      </a:cubicBezTo>
                      <a:cubicBezTo>
                        <a:pt x="31" y="60"/>
                        <a:pt x="15" y="69"/>
                        <a:pt x="15" y="69"/>
                      </a:cubicBezTo>
                      <a:cubicBezTo>
                        <a:pt x="0" y="91"/>
                        <a:pt x="20" y="101"/>
                        <a:pt x="39" y="113"/>
                      </a:cubicBezTo>
                      <a:cubicBezTo>
                        <a:pt x="67" y="107"/>
                        <a:pt x="96" y="98"/>
                        <a:pt x="123" y="89"/>
                      </a:cubicBezTo>
                      <a:cubicBezTo>
                        <a:pt x="132" y="86"/>
                        <a:pt x="139" y="78"/>
                        <a:pt x="147" y="73"/>
                      </a:cubicBezTo>
                      <a:cubicBezTo>
                        <a:pt x="154" y="68"/>
                        <a:pt x="171" y="65"/>
                        <a:pt x="171" y="65"/>
                      </a:cubicBezTo>
                      <a:cubicBezTo>
                        <a:pt x="186" y="50"/>
                        <a:pt x="207" y="36"/>
                        <a:pt x="219" y="19"/>
                      </a:cubicBezTo>
                      <a:cubicBezTo>
                        <a:pt x="215" y="16"/>
                        <a:pt x="215" y="0"/>
                        <a:pt x="210" y="0"/>
                      </a:cubicBezTo>
                      <a:cubicBezTo>
                        <a:pt x="205" y="0"/>
                        <a:pt x="183" y="15"/>
                        <a:pt x="179" y="17"/>
                      </a:cubicBezTo>
                      <a:cubicBezTo>
                        <a:pt x="159" y="26"/>
                        <a:pt x="129" y="37"/>
                        <a:pt x="107" y="41"/>
                      </a:cubicBezTo>
                      <a:cubicBezTo>
                        <a:pt x="99" y="42"/>
                        <a:pt x="91" y="43"/>
                        <a:pt x="83" y="45"/>
                      </a:cubicBezTo>
                      <a:cubicBezTo>
                        <a:pt x="75" y="47"/>
                        <a:pt x="59" y="53"/>
                        <a:pt x="59" y="53"/>
                      </a:cubicBezTo>
                      <a:cubicBezTo>
                        <a:pt x="49" y="67"/>
                        <a:pt x="53" y="61"/>
                        <a:pt x="47" y="73"/>
                      </a:cubicBezTo>
                      <a:close/>
                    </a:path>
                  </a:pathLst>
                </a:custGeom>
                <a:solidFill>
                  <a:srgbClr val="C0C0C0"/>
                </a:solidFill>
                <a:ln w="6350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>
                  <a:outerShdw dist="28398" dir="3806097" algn="ctr" rotWithShape="0">
                    <a:srgbClr val="333333">
                      <a:alpha val="50000"/>
                    </a:srgbClr>
                  </a:outerShdw>
                </a:effectLst>
              </p:spPr>
              <p:txBody>
                <a:bodyPr/>
                <a:lstStyle/>
                <a:p>
                  <a:pPr>
                    <a:defRPr/>
                  </a:pPr>
                  <a:endParaRPr lang="zh-CN" altLang="en-US"/>
                </a:p>
              </p:txBody>
            </p:sp>
            <p:sp>
              <p:nvSpPr>
                <p:cNvPr id="135" name="Freeform 42"/>
                <p:cNvSpPr>
                  <a:spLocks/>
                </p:cNvSpPr>
                <p:nvPr/>
              </p:nvSpPr>
              <p:spPr bwMode="blackWhite">
                <a:xfrm>
                  <a:off x="4791" y="3873"/>
                  <a:ext cx="104" cy="92"/>
                </a:xfrm>
                <a:custGeom>
                  <a:avLst/>
                  <a:gdLst/>
                  <a:ahLst/>
                  <a:cxnLst>
                    <a:cxn ang="0">
                      <a:pos x="12" y="60"/>
                    </a:cxn>
                    <a:cxn ang="0">
                      <a:pos x="8" y="84"/>
                    </a:cxn>
                    <a:cxn ang="0">
                      <a:pos x="0" y="108"/>
                    </a:cxn>
                    <a:cxn ang="0">
                      <a:pos x="36" y="116"/>
                    </a:cxn>
                    <a:cxn ang="0">
                      <a:pos x="52" y="96"/>
                    </a:cxn>
                    <a:cxn ang="0">
                      <a:pos x="124" y="68"/>
                    </a:cxn>
                    <a:cxn ang="0">
                      <a:pos x="136" y="44"/>
                    </a:cxn>
                    <a:cxn ang="0">
                      <a:pos x="112" y="28"/>
                    </a:cxn>
                    <a:cxn ang="0">
                      <a:pos x="100" y="20"/>
                    </a:cxn>
                    <a:cxn ang="0">
                      <a:pos x="64" y="12"/>
                    </a:cxn>
                    <a:cxn ang="0">
                      <a:pos x="52" y="36"/>
                    </a:cxn>
                    <a:cxn ang="0">
                      <a:pos x="12" y="60"/>
                    </a:cxn>
                  </a:cxnLst>
                  <a:rect l="0" t="0" r="r" b="b"/>
                  <a:pathLst>
                    <a:path w="139" h="122">
                      <a:moveTo>
                        <a:pt x="12" y="60"/>
                      </a:moveTo>
                      <a:cubicBezTo>
                        <a:pt x="11" y="68"/>
                        <a:pt x="10" y="76"/>
                        <a:pt x="8" y="84"/>
                      </a:cubicBezTo>
                      <a:cubicBezTo>
                        <a:pt x="6" y="92"/>
                        <a:pt x="0" y="108"/>
                        <a:pt x="0" y="108"/>
                      </a:cubicBezTo>
                      <a:cubicBezTo>
                        <a:pt x="14" y="118"/>
                        <a:pt x="19" y="122"/>
                        <a:pt x="36" y="116"/>
                      </a:cubicBezTo>
                      <a:cubicBezTo>
                        <a:pt x="46" y="86"/>
                        <a:pt x="31" y="122"/>
                        <a:pt x="52" y="96"/>
                      </a:cubicBezTo>
                      <a:cubicBezTo>
                        <a:pt x="83" y="57"/>
                        <a:pt x="30" y="74"/>
                        <a:pt x="124" y="68"/>
                      </a:cubicBezTo>
                      <a:cubicBezTo>
                        <a:pt x="125" y="67"/>
                        <a:pt x="139" y="48"/>
                        <a:pt x="136" y="44"/>
                      </a:cubicBezTo>
                      <a:cubicBezTo>
                        <a:pt x="130" y="36"/>
                        <a:pt x="120" y="33"/>
                        <a:pt x="112" y="28"/>
                      </a:cubicBezTo>
                      <a:cubicBezTo>
                        <a:pt x="108" y="25"/>
                        <a:pt x="100" y="20"/>
                        <a:pt x="100" y="20"/>
                      </a:cubicBezTo>
                      <a:cubicBezTo>
                        <a:pt x="89" y="4"/>
                        <a:pt x="92" y="0"/>
                        <a:pt x="64" y="12"/>
                      </a:cubicBezTo>
                      <a:cubicBezTo>
                        <a:pt x="57" y="15"/>
                        <a:pt x="55" y="30"/>
                        <a:pt x="52" y="36"/>
                      </a:cubicBezTo>
                      <a:cubicBezTo>
                        <a:pt x="46" y="49"/>
                        <a:pt x="26" y="60"/>
                        <a:pt x="12" y="60"/>
                      </a:cubicBezTo>
                      <a:close/>
                    </a:path>
                  </a:pathLst>
                </a:custGeom>
                <a:solidFill>
                  <a:srgbClr val="C0C0C0"/>
                </a:solidFill>
                <a:ln w="6350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>
                  <a:outerShdw dist="28398" dir="3806097" algn="ctr" rotWithShape="0">
                    <a:srgbClr val="333333">
                      <a:alpha val="50000"/>
                    </a:srgbClr>
                  </a:outerShdw>
                </a:effectLst>
              </p:spPr>
              <p:txBody>
                <a:bodyPr/>
                <a:lstStyle/>
                <a:p>
                  <a:pPr>
                    <a:defRPr/>
                  </a:pPr>
                  <a:endParaRPr lang="zh-CN" altLang="en-US"/>
                </a:p>
              </p:txBody>
            </p:sp>
            <p:sp>
              <p:nvSpPr>
                <p:cNvPr id="136" name="Freeform 43"/>
                <p:cNvSpPr>
                  <a:spLocks/>
                </p:cNvSpPr>
                <p:nvPr/>
              </p:nvSpPr>
              <p:spPr bwMode="blackWhite">
                <a:xfrm>
                  <a:off x="4846" y="3832"/>
                  <a:ext cx="37" cy="27"/>
                </a:xfrm>
                <a:custGeom>
                  <a:avLst/>
                  <a:gdLst/>
                  <a:ahLst/>
                  <a:cxnLst>
                    <a:cxn ang="0">
                      <a:pos x="29" y="0"/>
                    </a:cxn>
                    <a:cxn ang="0">
                      <a:pos x="8" y="11"/>
                    </a:cxn>
                    <a:cxn ang="0">
                      <a:pos x="24" y="35"/>
                    </a:cxn>
                    <a:cxn ang="0">
                      <a:pos x="39" y="26"/>
                    </a:cxn>
                    <a:cxn ang="0">
                      <a:pos x="29" y="0"/>
                    </a:cxn>
                  </a:cxnLst>
                  <a:rect l="0" t="0" r="r" b="b"/>
                  <a:pathLst>
                    <a:path w="49" h="35">
                      <a:moveTo>
                        <a:pt x="29" y="0"/>
                      </a:moveTo>
                      <a:cubicBezTo>
                        <a:pt x="25" y="12"/>
                        <a:pt x="19" y="7"/>
                        <a:pt x="8" y="11"/>
                      </a:cubicBezTo>
                      <a:cubicBezTo>
                        <a:pt x="0" y="23"/>
                        <a:pt x="14" y="34"/>
                        <a:pt x="24" y="35"/>
                      </a:cubicBezTo>
                      <a:cubicBezTo>
                        <a:pt x="30" y="34"/>
                        <a:pt x="33" y="28"/>
                        <a:pt x="39" y="26"/>
                      </a:cubicBezTo>
                      <a:cubicBezTo>
                        <a:pt x="49" y="22"/>
                        <a:pt x="29" y="3"/>
                        <a:pt x="29" y="0"/>
                      </a:cubicBezTo>
                      <a:close/>
                    </a:path>
                  </a:pathLst>
                </a:custGeom>
                <a:solidFill>
                  <a:srgbClr val="C0C0C0"/>
                </a:solidFill>
                <a:ln w="6350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>
                  <a:outerShdw dist="28398" dir="3806097" algn="ctr" rotWithShape="0">
                    <a:srgbClr val="333333">
                      <a:alpha val="50000"/>
                    </a:srgbClr>
                  </a:outerShdw>
                </a:effectLst>
              </p:spPr>
              <p:txBody>
                <a:bodyPr/>
                <a:lstStyle/>
                <a:p>
                  <a:pPr>
                    <a:defRPr/>
                  </a:pPr>
                  <a:endParaRPr lang="zh-CN" altLang="en-US"/>
                </a:p>
              </p:txBody>
            </p:sp>
            <p:sp>
              <p:nvSpPr>
                <p:cNvPr id="137" name="Freeform 44"/>
                <p:cNvSpPr>
                  <a:spLocks/>
                </p:cNvSpPr>
                <p:nvPr/>
              </p:nvSpPr>
              <p:spPr bwMode="blackWhite">
                <a:xfrm>
                  <a:off x="3123" y="3346"/>
                  <a:ext cx="123" cy="199"/>
                </a:xfrm>
                <a:custGeom>
                  <a:avLst/>
                  <a:gdLst/>
                  <a:ahLst/>
                  <a:cxnLst>
                    <a:cxn ang="0">
                      <a:pos x="128" y="0"/>
                    </a:cxn>
                    <a:cxn ang="0">
                      <a:pos x="104" y="28"/>
                    </a:cxn>
                    <a:cxn ang="0">
                      <a:pos x="88" y="64"/>
                    </a:cxn>
                    <a:cxn ang="0">
                      <a:pos x="36" y="84"/>
                    </a:cxn>
                    <a:cxn ang="0">
                      <a:pos x="28" y="96"/>
                    </a:cxn>
                    <a:cxn ang="0">
                      <a:pos x="16" y="100"/>
                    </a:cxn>
                    <a:cxn ang="0">
                      <a:pos x="20" y="132"/>
                    </a:cxn>
                    <a:cxn ang="0">
                      <a:pos x="28" y="156"/>
                    </a:cxn>
                    <a:cxn ang="0">
                      <a:pos x="0" y="200"/>
                    </a:cxn>
                    <a:cxn ang="0">
                      <a:pos x="28" y="260"/>
                    </a:cxn>
                    <a:cxn ang="0">
                      <a:pos x="52" y="268"/>
                    </a:cxn>
                    <a:cxn ang="0">
                      <a:pos x="88" y="216"/>
                    </a:cxn>
                    <a:cxn ang="0">
                      <a:pos x="104" y="192"/>
                    </a:cxn>
                    <a:cxn ang="0">
                      <a:pos x="128" y="116"/>
                    </a:cxn>
                    <a:cxn ang="0">
                      <a:pos x="140" y="76"/>
                    </a:cxn>
                    <a:cxn ang="0">
                      <a:pos x="164" y="72"/>
                    </a:cxn>
                    <a:cxn ang="0">
                      <a:pos x="128" y="0"/>
                    </a:cxn>
                  </a:cxnLst>
                  <a:rect l="0" t="0" r="r" b="b"/>
                  <a:pathLst>
                    <a:path w="164" h="268">
                      <a:moveTo>
                        <a:pt x="128" y="0"/>
                      </a:moveTo>
                      <a:cubicBezTo>
                        <a:pt x="123" y="16"/>
                        <a:pt x="120" y="23"/>
                        <a:pt x="104" y="28"/>
                      </a:cubicBezTo>
                      <a:cubicBezTo>
                        <a:pt x="102" y="35"/>
                        <a:pt x="97" y="57"/>
                        <a:pt x="88" y="64"/>
                      </a:cubicBezTo>
                      <a:cubicBezTo>
                        <a:pt x="75" y="75"/>
                        <a:pt x="51" y="74"/>
                        <a:pt x="36" y="84"/>
                      </a:cubicBezTo>
                      <a:cubicBezTo>
                        <a:pt x="33" y="88"/>
                        <a:pt x="32" y="93"/>
                        <a:pt x="28" y="96"/>
                      </a:cubicBezTo>
                      <a:cubicBezTo>
                        <a:pt x="25" y="99"/>
                        <a:pt x="17" y="96"/>
                        <a:pt x="16" y="100"/>
                      </a:cubicBezTo>
                      <a:cubicBezTo>
                        <a:pt x="14" y="110"/>
                        <a:pt x="18" y="121"/>
                        <a:pt x="20" y="132"/>
                      </a:cubicBezTo>
                      <a:cubicBezTo>
                        <a:pt x="22" y="140"/>
                        <a:pt x="28" y="156"/>
                        <a:pt x="28" y="156"/>
                      </a:cubicBezTo>
                      <a:cubicBezTo>
                        <a:pt x="13" y="166"/>
                        <a:pt x="6" y="183"/>
                        <a:pt x="0" y="200"/>
                      </a:cubicBezTo>
                      <a:cubicBezTo>
                        <a:pt x="3" y="210"/>
                        <a:pt x="19" y="254"/>
                        <a:pt x="28" y="260"/>
                      </a:cubicBezTo>
                      <a:cubicBezTo>
                        <a:pt x="35" y="264"/>
                        <a:pt x="52" y="268"/>
                        <a:pt x="52" y="268"/>
                      </a:cubicBezTo>
                      <a:cubicBezTo>
                        <a:pt x="85" y="261"/>
                        <a:pt x="79" y="244"/>
                        <a:pt x="88" y="216"/>
                      </a:cubicBezTo>
                      <a:cubicBezTo>
                        <a:pt x="91" y="207"/>
                        <a:pt x="99" y="200"/>
                        <a:pt x="104" y="192"/>
                      </a:cubicBezTo>
                      <a:cubicBezTo>
                        <a:pt x="116" y="174"/>
                        <a:pt x="121" y="136"/>
                        <a:pt x="128" y="116"/>
                      </a:cubicBezTo>
                      <a:cubicBezTo>
                        <a:pt x="131" y="108"/>
                        <a:pt x="134" y="79"/>
                        <a:pt x="140" y="76"/>
                      </a:cubicBezTo>
                      <a:cubicBezTo>
                        <a:pt x="147" y="72"/>
                        <a:pt x="156" y="73"/>
                        <a:pt x="164" y="72"/>
                      </a:cubicBezTo>
                      <a:cubicBezTo>
                        <a:pt x="158" y="19"/>
                        <a:pt x="161" y="33"/>
                        <a:pt x="128" y="0"/>
                      </a:cubicBezTo>
                      <a:close/>
                    </a:path>
                  </a:pathLst>
                </a:custGeom>
                <a:solidFill>
                  <a:srgbClr val="C0C0C0"/>
                </a:solidFill>
                <a:ln w="6350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>
                  <a:outerShdw dist="28398" dir="3806097" algn="ctr" rotWithShape="0">
                    <a:srgbClr val="333333">
                      <a:alpha val="50000"/>
                    </a:srgbClr>
                  </a:outerShdw>
                </a:effectLst>
              </p:spPr>
              <p:txBody>
                <a:bodyPr/>
                <a:lstStyle/>
                <a:p>
                  <a:pPr>
                    <a:defRPr/>
                  </a:pPr>
                  <a:endParaRPr lang="zh-CN" altLang="en-US"/>
                </a:p>
              </p:txBody>
            </p:sp>
            <p:sp>
              <p:nvSpPr>
                <p:cNvPr id="138" name="Freeform 45"/>
                <p:cNvSpPr>
                  <a:spLocks/>
                </p:cNvSpPr>
                <p:nvPr/>
              </p:nvSpPr>
              <p:spPr bwMode="blackWhite">
                <a:xfrm>
                  <a:off x="3655" y="3034"/>
                  <a:ext cx="49" cy="59"/>
                </a:xfrm>
                <a:custGeom>
                  <a:avLst/>
                  <a:gdLst/>
                  <a:ahLst/>
                  <a:cxnLst>
                    <a:cxn ang="0">
                      <a:pos x="29" y="0"/>
                    </a:cxn>
                    <a:cxn ang="0">
                      <a:pos x="25" y="60"/>
                    </a:cxn>
                    <a:cxn ang="0">
                      <a:pos x="29" y="76"/>
                    </a:cxn>
                    <a:cxn ang="0">
                      <a:pos x="41" y="80"/>
                    </a:cxn>
                    <a:cxn ang="0">
                      <a:pos x="57" y="76"/>
                    </a:cxn>
                    <a:cxn ang="0">
                      <a:pos x="29" y="0"/>
                    </a:cxn>
                  </a:cxnLst>
                  <a:rect l="0" t="0" r="r" b="b"/>
                  <a:pathLst>
                    <a:path w="66" h="81">
                      <a:moveTo>
                        <a:pt x="29" y="0"/>
                      </a:moveTo>
                      <a:cubicBezTo>
                        <a:pt x="0" y="10"/>
                        <a:pt x="20" y="38"/>
                        <a:pt x="25" y="60"/>
                      </a:cubicBezTo>
                      <a:cubicBezTo>
                        <a:pt x="26" y="65"/>
                        <a:pt x="26" y="72"/>
                        <a:pt x="29" y="76"/>
                      </a:cubicBezTo>
                      <a:cubicBezTo>
                        <a:pt x="32" y="79"/>
                        <a:pt x="37" y="79"/>
                        <a:pt x="41" y="80"/>
                      </a:cubicBezTo>
                      <a:cubicBezTo>
                        <a:pt x="46" y="79"/>
                        <a:pt x="55" y="81"/>
                        <a:pt x="57" y="76"/>
                      </a:cubicBezTo>
                      <a:cubicBezTo>
                        <a:pt x="66" y="53"/>
                        <a:pt x="45" y="16"/>
                        <a:pt x="29" y="0"/>
                      </a:cubicBezTo>
                      <a:close/>
                    </a:path>
                  </a:pathLst>
                </a:custGeom>
                <a:solidFill>
                  <a:srgbClr val="C0C0C0"/>
                </a:solidFill>
                <a:ln w="6350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>
                  <a:outerShdw dist="28398" dir="3806097" algn="ctr" rotWithShape="0">
                    <a:srgbClr val="333333">
                      <a:alpha val="50000"/>
                    </a:srgbClr>
                  </a:outerShdw>
                </a:effectLst>
              </p:spPr>
              <p:txBody>
                <a:bodyPr/>
                <a:lstStyle/>
                <a:p>
                  <a:pPr>
                    <a:defRPr/>
                  </a:pPr>
                  <a:endParaRPr lang="zh-CN" altLang="en-US"/>
                </a:p>
              </p:txBody>
            </p:sp>
            <p:sp>
              <p:nvSpPr>
                <p:cNvPr id="139" name="Freeform 46"/>
                <p:cNvSpPr>
                  <a:spLocks/>
                </p:cNvSpPr>
                <p:nvPr/>
              </p:nvSpPr>
              <p:spPr bwMode="blackWhite">
                <a:xfrm>
                  <a:off x="3988" y="3100"/>
                  <a:ext cx="111" cy="181"/>
                </a:xfrm>
                <a:custGeom>
                  <a:avLst/>
                  <a:gdLst/>
                  <a:ahLst/>
                  <a:cxnLst>
                    <a:cxn ang="0">
                      <a:pos x="96" y="0"/>
                    </a:cxn>
                    <a:cxn ang="0">
                      <a:pos x="60" y="84"/>
                    </a:cxn>
                    <a:cxn ang="0">
                      <a:pos x="36" y="92"/>
                    </a:cxn>
                    <a:cxn ang="0">
                      <a:pos x="12" y="108"/>
                    </a:cxn>
                    <a:cxn ang="0">
                      <a:pos x="40" y="188"/>
                    </a:cxn>
                    <a:cxn ang="0">
                      <a:pos x="52" y="224"/>
                    </a:cxn>
                    <a:cxn ang="0">
                      <a:pos x="60" y="236"/>
                    </a:cxn>
                    <a:cxn ang="0">
                      <a:pos x="84" y="244"/>
                    </a:cxn>
                    <a:cxn ang="0">
                      <a:pos x="96" y="196"/>
                    </a:cxn>
                    <a:cxn ang="0">
                      <a:pos x="124" y="168"/>
                    </a:cxn>
                    <a:cxn ang="0">
                      <a:pos x="112" y="68"/>
                    </a:cxn>
                    <a:cxn ang="0">
                      <a:pos x="140" y="48"/>
                    </a:cxn>
                    <a:cxn ang="0">
                      <a:pos x="112" y="20"/>
                    </a:cxn>
                    <a:cxn ang="0">
                      <a:pos x="96" y="0"/>
                    </a:cxn>
                  </a:cxnLst>
                  <a:rect l="0" t="0" r="r" b="b"/>
                  <a:pathLst>
                    <a:path w="148" h="244">
                      <a:moveTo>
                        <a:pt x="96" y="0"/>
                      </a:moveTo>
                      <a:cubicBezTo>
                        <a:pt x="86" y="29"/>
                        <a:pt x="70" y="55"/>
                        <a:pt x="60" y="84"/>
                      </a:cubicBezTo>
                      <a:cubicBezTo>
                        <a:pt x="57" y="92"/>
                        <a:pt x="43" y="87"/>
                        <a:pt x="36" y="92"/>
                      </a:cubicBezTo>
                      <a:cubicBezTo>
                        <a:pt x="28" y="97"/>
                        <a:pt x="12" y="108"/>
                        <a:pt x="12" y="108"/>
                      </a:cubicBezTo>
                      <a:cubicBezTo>
                        <a:pt x="0" y="144"/>
                        <a:pt x="30" y="158"/>
                        <a:pt x="40" y="188"/>
                      </a:cubicBezTo>
                      <a:cubicBezTo>
                        <a:pt x="44" y="200"/>
                        <a:pt x="45" y="213"/>
                        <a:pt x="52" y="224"/>
                      </a:cubicBezTo>
                      <a:cubicBezTo>
                        <a:pt x="55" y="228"/>
                        <a:pt x="56" y="233"/>
                        <a:pt x="60" y="236"/>
                      </a:cubicBezTo>
                      <a:cubicBezTo>
                        <a:pt x="67" y="240"/>
                        <a:pt x="84" y="244"/>
                        <a:pt x="84" y="244"/>
                      </a:cubicBezTo>
                      <a:cubicBezTo>
                        <a:pt x="111" y="235"/>
                        <a:pt x="103" y="218"/>
                        <a:pt x="96" y="196"/>
                      </a:cubicBezTo>
                      <a:cubicBezTo>
                        <a:pt x="100" y="183"/>
                        <a:pt x="124" y="168"/>
                        <a:pt x="124" y="168"/>
                      </a:cubicBezTo>
                      <a:cubicBezTo>
                        <a:pt x="148" y="132"/>
                        <a:pt x="123" y="101"/>
                        <a:pt x="112" y="68"/>
                      </a:cubicBezTo>
                      <a:cubicBezTo>
                        <a:pt x="140" y="59"/>
                        <a:pt x="133" y="68"/>
                        <a:pt x="140" y="48"/>
                      </a:cubicBezTo>
                      <a:cubicBezTo>
                        <a:pt x="136" y="35"/>
                        <a:pt x="112" y="20"/>
                        <a:pt x="112" y="20"/>
                      </a:cubicBezTo>
                      <a:cubicBezTo>
                        <a:pt x="102" y="5"/>
                        <a:pt x="107" y="11"/>
                        <a:pt x="96" y="0"/>
                      </a:cubicBezTo>
                      <a:close/>
                    </a:path>
                  </a:pathLst>
                </a:custGeom>
                <a:solidFill>
                  <a:srgbClr val="C0C0C0"/>
                </a:solidFill>
                <a:ln w="6350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>
                  <a:outerShdw dist="28398" dir="3806097" algn="ctr" rotWithShape="0">
                    <a:srgbClr val="333333">
                      <a:alpha val="50000"/>
                    </a:srgbClr>
                  </a:outerShdw>
                </a:effectLst>
              </p:spPr>
              <p:txBody>
                <a:bodyPr/>
                <a:lstStyle/>
                <a:p>
                  <a:pPr>
                    <a:defRPr/>
                  </a:pPr>
                  <a:endParaRPr lang="zh-CN" altLang="en-US"/>
                </a:p>
              </p:txBody>
            </p:sp>
            <p:sp>
              <p:nvSpPr>
                <p:cNvPr id="140" name="Freeform 47"/>
                <p:cNvSpPr>
                  <a:spLocks/>
                </p:cNvSpPr>
                <p:nvPr/>
              </p:nvSpPr>
              <p:spPr bwMode="blackWhite">
                <a:xfrm>
                  <a:off x="3894" y="3043"/>
                  <a:ext cx="72" cy="135"/>
                </a:xfrm>
                <a:custGeom>
                  <a:avLst/>
                  <a:gdLst/>
                  <a:ahLst/>
                  <a:cxnLst>
                    <a:cxn ang="0">
                      <a:pos x="48" y="2"/>
                    </a:cxn>
                    <a:cxn ang="0">
                      <a:pos x="51" y="35"/>
                    </a:cxn>
                    <a:cxn ang="0">
                      <a:pos x="60" y="62"/>
                    </a:cxn>
                    <a:cxn ang="0">
                      <a:pos x="62" y="92"/>
                    </a:cxn>
                    <a:cxn ang="0">
                      <a:pos x="68" y="105"/>
                    </a:cxn>
                    <a:cxn ang="0">
                      <a:pos x="71" y="126"/>
                    </a:cxn>
                    <a:cxn ang="0">
                      <a:pos x="57" y="93"/>
                    </a:cxn>
                    <a:cxn ang="0">
                      <a:pos x="35" y="78"/>
                    </a:cxn>
                    <a:cxn ang="0">
                      <a:pos x="5" y="83"/>
                    </a:cxn>
                    <a:cxn ang="0">
                      <a:pos x="8" y="102"/>
                    </a:cxn>
                    <a:cxn ang="0">
                      <a:pos x="41" y="114"/>
                    </a:cxn>
                    <a:cxn ang="0">
                      <a:pos x="57" y="135"/>
                    </a:cxn>
                    <a:cxn ang="0">
                      <a:pos x="71" y="135"/>
                    </a:cxn>
                    <a:cxn ang="0">
                      <a:pos x="78" y="150"/>
                    </a:cxn>
                    <a:cxn ang="0">
                      <a:pos x="96" y="179"/>
                    </a:cxn>
                    <a:cxn ang="0">
                      <a:pos x="81" y="126"/>
                    </a:cxn>
                    <a:cxn ang="0">
                      <a:pos x="80" y="93"/>
                    </a:cxn>
                    <a:cxn ang="0">
                      <a:pos x="71" y="63"/>
                    </a:cxn>
                    <a:cxn ang="0">
                      <a:pos x="63" y="41"/>
                    </a:cxn>
                    <a:cxn ang="0">
                      <a:pos x="57" y="20"/>
                    </a:cxn>
                    <a:cxn ang="0">
                      <a:pos x="48" y="2"/>
                    </a:cxn>
                  </a:cxnLst>
                  <a:rect l="0" t="0" r="r" b="b"/>
                  <a:pathLst>
                    <a:path w="96" h="183">
                      <a:moveTo>
                        <a:pt x="48" y="2"/>
                      </a:moveTo>
                      <a:cubicBezTo>
                        <a:pt x="47" y="4"/>
                        <a:pt x="49" y="25"/>
                        <a:pt x="51" y="35"/>
                      </a:cubicBezTo>
                      <a:cubicBezTo>
                        <a:pt x="53" y="45"/>
                        <a:pt x="58" y="53"/>
                        <a:pt x="60" y="62"/>
                      </a:cubicBezTo>
                      <a:cubicBezTo>
                        <a:pt x="62" y="71"/>
                        <a:pt x="61" y="85"/>
                        <a:pt x="62" y="92"/>
                      </a:cubicBezTo>
                      <a:cubicBezTo>
                        <a:pt x="63" y="99"/>
                        <a:pt x="67" y="99"/>
                        <a:pt x="68" y="105"/>
                      </a:cubicBezTo>
                      <a:cubicBezTo>
                        <a:pt x="69" y="111"/>
                        <a:pt x="73" y="128"/>
                        <a:pt x="71" y="126"/>
                      </a:cubicBezTo>
                      <a:cubicBezTo>
                        <a:pt x="69" y="124"/>
                        <a:pt x="63" y="101"/>
                        <a:pt x="57" y="93"/>
                      </a:cubicBezTo>
                      <a:cubicBezTo>
                        <a:pt x="51" y="85"/>
                        <a:pt x="44" y="80"/>
                        <a:pt x="35" y="78"/>
                      </a:cubicBezTo>
                      <a:cubicBezTo>
                        <a:pt x="26" y="76"/>
                        <a:pt x="10" y="79"/>
                        <a:pt x="5" y="83"/>
                      </a:cubicBezTo>
                      <a:cubicBezTo>
                        <a:pt x="0" y="87"/>
                        <a:pt x="2" y="97"/>
                        <a:pt x="8" y="102"/>
                      </a:cubicBezTo>
                      <a:cubicBezTo>
                        <a:pt x="14" y="107"/>
                        <a:pt x="33" y="109"/>
                        <a:pt x="41" y="114"/>
                      </a:cubicBezTo>
                      <a:cubicBezTo>
                        <a:pt x="49" y="119"/>
                        <a:pt x="52" y="132"/>
                        <a:pt x="57" y="135"/>
                      </a:cubicBezTo>
                      <a:cubicBezTo>
                        <a:pt x="62" y="138"/>
                        <a:pt x="68" y="133"/>
                        <a:pt x="71" y="135"/>
                      </a:cubicBezTo>
                      <a:cubicBezTo>
                        <a:pt x="74" y="137"/>
                        <a:pt x="74" y="143"/>
                        <a:pt x="78" y="150"/>
                      </a:cubicBezTo>
                      <a:cubicBezTo>
                        <a:pt x="82" y="157"/>
                        <a:pt x="96" y="183"/>
                        <a:pt x="96" y="179"/>
                      </a:cubicBezTo>
                      <a:cubicBezTo>
                        <a:pt x="96" y="175"/>
                        <a:pt x="84" y="140"/>
                        <a:pt x="81" y="126"/>
                      </a:cubicBezTo>
                      <a:cubicBezTo>
                        <a:pt x="78" y="112"/>
                        <a:pt x="82" y="104"/>
                        <a:pt x="80" y="93"/>
                      </a:cubicBezTo>
                      <a:cubicBezTo>
                        <a:pt x="78" y="82"/>
                        <a:pt x="74" y="72"/>
                        <a:pt x="71" y="63"/>
                      </a:cubicBezTo>
                      <a:cubicBezTo>
                        <a:pt x="68" y="54"/>
                        <a:pt x="65" y="48"/>
                        <a:pt x="63" y="41"/>
                      </a:cubicBezTo>
                      <a:cubicBezTo>
                        <a:pt x="61" y="34"/>
                        <a:pt x="59" y="26"/>
                        <a:pt x="57" y="20"/>
                      </a:cubicBezTo>
                      <a:cubicBezTo>
                        <a:pt x="55" y="14"/>
                        <a:pt x="49" y="0"/>
                        <a:pt x="48" y="2"/>
                      </a:cubicBezTo>
                      <a:close/>
                    </a:path>
                  </a:pathLst>
                </a:custGeom>
                <a:solidFill>
                  <a:srgbClr val="C0C0C0"/>
                </a:solidFill>
                <a:ln w="6350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>
                  <a:outerShdw dist="28398" dir="3806097" algn="ctr" rotWithShape="0">
                    <a:srgbClr val="333333">
                      <a:alpha val="50000"/>
                    </a:srgbClr>
                  </a:outerShdw>
                </a:effectLst>
              </p:spPr>
              <p:txBody>
                <a:bodyPr/>
                <a:lstStyle/>
                <a:p>
                  <a:pPr>
                    <a:defRPr/>
                  </a:pPr>
                  <a:endParaRPr lang="zh-CN" altLang="en-US"/>
                </a:p>
              </p:txBody>
            </p:sp>
            <p:sp>
              <p:nvSpPr>
                <p:cNvPr id="141" name="Freeform 48"/>
                <p:cNvSpPr>
                  <a:spLocks/>
                </p:cNvSpPr>
                <p:nvPr/>
              </p:nvSpPr>
              <p:spPr bwMode="blackWhite">
                <a:xfrm>
                  <a:off x="3943" y="3153"/>
                  <a:ext cx="40" cy="131"/>
                </a:xfrm>
                <a:custGeom>
                  <a:avLst/>
                  <a:gdLst/>
                  <a:ahLst/>
                  <a:cxnLst>
                    <a:cxn ang="0">
                      <a:pos x="6" y="0"/>
                    </a:cxn>
                    <a:cxn ang="0">
                      <a:pos x="0" y="25"/>
                    </a:cxn>
                    <a:cxn ang="0">
                      <a:pos x="9" y="54"/>
                    </a:cxn>
                    <a:cxn ang="0">
                      <a:pos x="18" y="94"/>
                    </a:cxn>
                    <a:cxn ang="0">
                      <a:pos x="34" y="129"/>
                    </a:cxn>
                    <a:cxn ang="0">
                      <a:pos x="54" y="175"/>
                    </a:cxn>
                    <a:cxn ang="0">
                      <a:pos x="40" y="115"/>
                    </a:cxn>
                    <a:cxn ang="0">
                      <a:pos x="34" y="93"/>
                    </a:cxn>
                    <a:cxn ang="0">
                      <a:pos x="28" y="61"/>
                    </a:cxn>
                    <a:cxn ang="0">
                      <a:pos x="25" y="46"/>
                    </a:cxn>
                    <a:cxn ang="0">
                      <a:pos x="16" y="37"/>
                    </a:cxn>
                    <a:cxn ang="0">
                      <a:pos x="6" y="0"/>
                    </a:cxn>
                  </a:cxnLst>
                  <a:rect l="0" t="0" r="r" b="b"/>
                  <a:pathLst>
                    <a:path w="54" h="175">
                      <a:moveTo>
                        <a:pt x="6" y="0"/>
                      </a:moveTo>
                      <a:lnTo>
                        <a:pt x="0" y="25"/>
                      </a:lnTo>
                      <a:cubicBezTo>
                        <a:pt x="3" y="48"/>
                        <a:pt x="3" y="40"/>
                        <a:pt x="9" y="54"/>
                      </a:cubicBezTo>
                      <a:cubicBezTo>
                        <a:pt x="10" y="66"/>
                        <a:pt x="12" y="83"/>
                        <a:pt x="18" y="94"/>
                      </a:cubicBezTo>
                      <a:cubicBezTo>
                        <a:pt x="21" y="109"/>
                        <a:pt x="25" y="117"/>
                        <a:pt x="34" y="129"/>
                      </a:cubicBezTo>
                      <a:cubicBezTo>
                        <a:pt x="35" y="143"/>
                        <a:pt x="35" y="171"/>
                        <a:pt x="54" y="175"/>
                      </a:cubicBezTo>
                      <a:cubicBezTo>
                        <a:pt x="52" y="133"/>
                        <a:pt x="53" y="141"/>
                        <a:pt x="40" y="115"/>
                      </a:cubicBezTo>
                      <a:cubicBezTo>
                        <a:pt x="39" y="108"/>
                        <a:pt x="37" y="100"/>
                        <a:pt x="34" y="93"/>
                      </a:cubicBezTo>
                      <a:cubicBezTo>
                        <a:pt x="33" y="82"/>
                        <a:pt x="30" y="72"/>
                        <a:pt x="28" y="61"/>
                      </a:cubicBezTo>
                      <a:cubicBezTo>
                        <a:pt x="28" y="58"/>
                        <a:pt x="28" y="50"/>
                        <a:pt x="25" y="46"/>
                      </a:cubicBezTo>
                      <a:cubicBezTo>
                        <a:pt x="22" y="43"/>
                        <a:pt x="16" y="37"/>
                        <a:pt x="16" y="37"/>
                      </a:cubicBezTo>
                      <a:cubicBezTo>
                        <a:pt x="14" y="25"/>
                        <a:pt x="13" y="9"/>
                        <a:pt x="6" y="0"/>
                      </a:cubicBezTo>
                      <a:close/>
                    </a:path>
                  </a:pathLst>
                </a:custGeom>
                <a:solidFill>
                  <a:srgbClr val="C0C0C0"/>
                </a:solidFill>
                <a:ln w="6350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>
                  <a:outerShdw dist="28398" dir="3806097" algn="ctr" rotWithShape="0">
                    <a:srgbClr val="333333">
                      <a:alpha val="50000"/>
                    </a:srgbClr>
                  </a:outerShdw>
                </a:effectLst>
              </p:spPr>
              <p:txBody>
                <a:bodyPr/>
                <a:lstStyle/>
                <a:p>
                  <a:pPr>
                    <a:defRPr/>
                  </a:pPr>
                  <a:endParaRPr lang="zh-CN" altLang="en-US"/>
                </a:p>
              </p:txBody>
            </p:sp>
            <p:sp>
              <p:nvSpPr>
                <p:cNvPr id="142" name="Freeform 49"/>
                <p:cNvSpPr>
                  <a:spLocks/>
                </p:cNvSpPr>
                <p:nvPr/>
              </p:nvSpPr>
              <p:spPr bwMode="blackWhite">
                <a:xfrm>
                  <a:off x="3988" y="3291"/>
                  <a:ext cx="65" cy="55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8" y="34"/>
                    </a:cxn>
                    <a:cxn ang="0">
                      <a:pos x="23" y="43"/>
                    </a:cxn>
                    <a:cxn ang="0">
                      <a:pos x="48" y="49"/>
                    </a:cxn>
                    <a:cxn ang="0">
                      <a:pos x="62" y="57"/>
                    </a:cxn>
                    <a:cxn ang="0">
                      <a:pos x="74" y="66"/>
                    </a:cxn>
                    <a:cxn ang="0">
                      <a:pos x="86" y="69"/>
                    </a:cxn>
                    <a:cxn ang="0">
                      <a:pos x="72" y="39"/>
                    </a:cxn>
                    <a:cxn ang="0">
                      <a:pos x="63" y="22"/>
                    </a:cxn>
                    <a:cxn ang="0">
                      <a:pos x="36" y="24"/>
                    </a:cxn>
                    <a:cxn ang="0">
                      <a:pos x="24" y="19"/>
                    </a:cxn>
                    <a:cxn ang="0">
                      <a:pos x="6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86" h="73">
                      <a:moveTo>
                        <a:pt x="2" y="0"/>
                      </a:moveTo>
                      <a:cubicBezTo>
                        <a:pt x="3" y="17"/>
                        <a:pt x="0" y="23"/>
                        <a:pt x="8" y="34"/>
                      </a:cubicBezTo>
                      <a:cubicBezTo>
                        <a:pt x="10" y="43"/>
                        <a:pt x="14" y="42"/>
                        <a:pt x="23" y="43"/>
                      </a:cubicBezTo>
                      <a:cubicBezTo>
                        <a:pt x="30" y="47"/>
                        <a:pt x="40" y="48"/>
                        <a:pt x="48" y="49"/>
                      </a:cubicBezTo>
                      <a:cubicBezTo>
                        <a:pt x="53" y="51"/>
                        <a:pt x="57" y="54"/>
                        <a:pt x="62" y="57"/>
                      </a:cubicBezTo>
                      <a:cubicBezTo>
                        <a:pt x="66" y="62"/>
                        <a:pt x="68" y="64"/>
                        <a:pt x="74" y="66"/>
                      </a:cubicBezTo>
                      <a:cubicBezTo>
                        <a:pt x="78" y="72"/>
                        <a:pt x="79" y="73"/>
                        <a:pt x="86" y="69"/>
                      </a:cubicBezTo>
                      <a:cubicBezTo>
                        <a:pt x="83" y="53"/>
                        <a:pt x="80" y="52"/>
                        <a:pt x="72" y="39"/>
                      </a:cubicBezTo>
                      <a:cubicBezTo>
                        <a:pt x="68" y="34"/>
                        <a:pt x="63" y="22"/>
                        <a:pt x="63" y="22"/>
                      </a:cubicBezTo>
                      <a:cubicBezTo>
                        <a:pt x="52" y="26"/>
                        <a:pt x="48" y="26"/>
                        <a:pt x="36" y="24"/>
                      </a:cubicBezTo>
                      <a:cubicBezTo>
                        <a:pt x="24" y="15"/>
                        <a:pt x="43" y="29"/>
                        <a:pt x="24" y="19"/>
                      </a:cubicBezTo>
                      <a:cubicBezTo>
                        <a:pt x="15" y="15"/>
                        <a:pt x="16" y="2"/>
                        <a:pt x="6" y="0"/>
                      </a:cubicBezTo>
                      <a:cubicBezTo>
                        <a:pt x="1" y="4"/>
                        <a:pt x="2" y="5"/>
                        <a:pt x="2" y="0"/>
                      </a:cubicBezTo>
                      <a:close/>
                    </a:path>
                  </a:pathLst>
                </a:custGeom>
                <a:solidFill>
                  <a:srgbClr val="C0C0C0"/>
                </a:solidFill>
                <a:ln w="6350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>
                  <a:outerShdw dist="28398" dir="3806097" algn="ctr" rotWithShape="0">
                    <a:srgbClr val="333333">
                      <a:alpha val="50000"/>
                    </a:srgbClr>
                  </a:outerShdw>
                </a:effectLst>
              </p:spPr>
              <p:txBody>
                <a:bodyPr/>
                <a:lstStyle/>
                <a:p>
                  <a:pPr>
                    <a:defRPr/>
                  </a:pPr>
                  <a:endParaRPr lang="zh-CN" altLang="en-US"/>
                </a:p>
              </p:txBody>
            </p:sp>
            <p:sp>
              <p:nvSpPr>
                <p:cNvPr id="143" name="Freeform 50"/>
                <p:cNvSpPr>
                  <a:spLocks/>
                </p:cNvSpPr>
                <p:nvPr/>
              </p:nvSpPr>
              <p:spPr bwMode="blackWhite">
                <a:xfrm>
                  <a:off x="4092" y="3195"/>
                  <a:ext cx="83" cy="115"/>
                </a:xfrm>
                <a:custGeom>
                  <a:avLst/>
                  <a:gdLst/>
                  <a:ahLst/>
                  <a:cxnLst>
                    <a:cxn ang="0">
                      <a:pos x="98" y="0"/>
                    </a:cxn>
                    <a:cxn ang="0">
                      <a:pos x="75" y="10"/>
                    </a:cxn>
                    <a:cxn ang="0">
                      <a:pos x="23" y="15"/>
                    </a:cxn>
                    <a:cxn ang="0">
                      <a:pos x="14" y="33"/>
                    </a:cxn>
                    <a:cxn ang="0">
                      <a:pos x="11" y="61"/>
                    </a:cxn>
                    <a:cxn ang="0">
                      <a:pos x="14" y="75"/>
                    </a:cxn>
                    <a:cxn ang="0">
                      <a:pos x="3" y="88"/>
                    </a:cxn>
                    <a:cxn ang="0">
                      <a:pos x="14" y="109"/>
                    </a:cxn>
                    <a:cxn ang="0">
                      <a:pos x="23" y="124"/>
                    </a:cxn>
                    <a:cxn ang="0">
                      <a:pos x="15" y="144"/>
                    </a:cxn>
                    <a:cxn ang="0">
                      <a:pos x="24" y="156"/>
                    </a:cxn>
                    <a:cxn ang="0">
                      <a:pos x="42" y="144"/>
                    </a:cxn>
                    <a:cxn ang="0">
                      <a:pos x="50" y="93"/>
                    </a:cxn>
                    <a:cxn ang="0">
                      <a:pos x="56" y="126"/>
                    </a:cxn>
                    <a:cxn ang="0">
                      <a:pos x="65" y="145"/>
                    </a:cxn>
                    <a:cxn ang="0">
                      <a:pos x="62" y="112"/>
                    </a:cxn>
                    <a:cxn ang="0">
                      <a:pos x="72" y="73"/>
                    </a:cxn>
                    <a:cxn ang="0">
                      <a:pos x="69" y="51"/>
                    </a:cxn>
                    <a:cxn ang="0">
                      <a:pos x="54" y="60"/>
                    </a:cxn>
                    <a:cxn ang="0">
                      <a:pos x="35" y="54"/>
                    </a:cxn>
                    <a:cxn ang="0">
                      <a:pos x="41" y="36"/>
                    </a:cxn>
                    <a:cxn ang="0">
                      <a:pos x="62" y="34"/>
                    </a:cxn>
                    <a:cxn ang="0">
                      <a:pos x="78" y="39"/>
                    </a:cxn>
                    <a:cxn ang="0">
                      <a:pos x="98" y="30"/>
                    </a:cxn>
                    <a:cxn ang="0">
                      <a:pos x="111" y="13"/>
                    </a:cxn>
                    <a:cxn ang="0">
                      <a:pos x="98" y="0"/>
                    </a:cxn>
                  </a:cxnLst>
                  <a:rect l="0" t="0" r="r" b="b"/>
                  <a:pathLst>
                    <a:path w="111" h="156">
                      <a:moveTo>
                        <a:pt x="98" y="0"/>
                      </a:moveTo>
                      <a:cubicBezTo>
                        <a:pt x="75" y="2"/>
                        <a:pt x="87" y="8"/>
                        <a:pt x="75" y="10"/>
                      </a:cubicBezTo>
                      <a:cubicBezTo>
                        <a:pt x="72" y="10"/>
                        <a:pt x="25" y="3"/>
                        <a:pt x="23" y="15"/>
                      </a:cubicBezTo>
                      <a:cubicBezTo>
                        <a:pt x="25" y="26"/>
                        <a:pt x="23" y="27"/>
                        <a:pt x="14" y="33"/>
                      </a:cubicBezTo>
                      <a:cubicBezTo>
                        <a:pt x="15" y="43"/>
                        <a:pt x="20" y="54"/>
                        <a:pt x="11" y="61"/>
                      </a:cubicBezTo>
                      <a:cubicBezTo>
                        <a:pt x="8" y="68"/>
                        <a:pt x="10" y="69"/>
                        <a:pt x="14" y="75"/>
                      </a:cubicBezTo>
                      <a:cubicBezTo>
                        <a:pt x="16" y="84"/>
                        <a:pt x="12" y="86"/>
                        <a:pt x="3" y="88"/>
                      </a:cubicBezTo>
                      <a:cubicBezTo>
                        <a:pt x="1" y="99"/>
                        <a:pt x="0" y="106"/>
                        <a:pt x="14" y="109"/>
                      </a:cubicBezTo>
                      <a:cubicBezTo>
                        <a:pt x="21" y="112"/>
                        <a:pt x="20" y="118"/>
                        <a:pt x="23" y="124"/>
                      </a:cubicBezTo>
                      <a:cubicBezTo>
                        <a:pt x="25" y="133"/>
                        <a:pt x="23" y="139"/>
                        <a:pt x="15" y="144"/>
                      </a:cubicBezTo>
                      <a:cubicBezTo>
                        <a:pt x="17" y="150"/>
                        <a:pt x="18" y="153"/>
                        <a:pt x="24" y="156"/>
                      </a:cubicBezTo>
                      <a:cubicBezTo>
                        <a:pt x="31" y="154"/>
                        <a:pt x="36" y="148"/>
                        <a:pt x="42" y="144"/>
                      </a:cubicBezTo>
                      <a:cubicBezTo>
                        <a:pt x="41" y="128"/>
                        <a:pt x="33" y="103"/>
                        <a:pt x="50" y="93"/>
                      </a:cubicBezTo>
                      <a:cubicBezTo>
                        <a:pt x="52" y="105"/>
                        <a:pt x="46" y="116"/>
                        <a:pt x="56" y="126"/>
                      </a:cubicBezTo>
                      <a:cubicBezTo>
                        <a:pt x="57" y="134"/>
                        <a:pt x="58" y="141"/>
                        <a:pt x="65" y="145"/>
                      </a:cubicBezTo>
                      <a:cubicBezTo>
                        <a:pt x="70" y="134"/>
                        <a:pt x="64" y="123"/>
                        <a:pt x="62" y="112"/>
                      </a:cubicBezTo>
                      <a:cubicBezTo>
                        <a:pt x="65" y="97"/>
                        <a:pt x="55" y="81"/>
                        <a:pt x="72" y="73"/>
                      </a:cubicBezTo>
                      <a:cubicBezTo>
                        <a:pt x="79" y="64"/>
                        <a:pt x="75" y="59"/>
                        <a:pt x="69" y="51"/>
                      </a:cubicBezTo>
                      <a:cubicBezTo>
                        <a:pt x="61" y="52"/>
                        <a:pt x="61" y="56"/>
                        <a:pt x="54" y="60"/>
                      </a:cubicBezTo>
                      <a:cubicBezTo>
                        <a:pt x="37" y="57"/>
                        <a:pt x="43" y="60"/>
                        <a:pt x="35" y="54"/>
                      </a:cubicBezTo>
                      <a:cubicBezTo>
                        <a:pt x="31" y="45"/>
                        <a:pt x="28" y="39"/>
                        <a:pt x="41" y="36"/>
                      </a:cubicBezTo>
                      <a:cubicBezTo>
                        <a:pt x="49" y="32"/>
                        <a:pt x="53" y="33"/>
                        <a:pt x="62" y="34"/>
                      </a:cubicBezTo>
                      <a:cubicBezTo>
                        <a:pt x="67" y="36"/>
                        <a:pt x="73" y="36"/>
                        <a:pt x="78" y="39"/>
                      </a:cubicBezTo>
                      <a:cubicBezTo>
                        <a:pt x="85" y="36"/>
                        <a:pt x="90" y="31"/>
                        <a:pt x="98" y="30"/>
                      </a:cubicBezTo>
                      <a:cubicBezTo>
                        <a:pt x="104" y="26"/>
                        <a:pt x="107" y="19"/>
                        <a:pt x="111" y="13"/>
                      </a:cubicBezTo>
                      <a:cubicBezTo>
                        <a:pt x="107" y="8"/>
                        <a:pt x="102" y="4"/>
                        <a:pt x="98" y="0"/>
                      </a:cubicBezTo>
                      <a:close/>
                    </a:path>
                  </a:pathLst>
                </a:custGeom>
                <a:solidFill>
                  <a:srgbClr val="C0C0C0"/>
                </a:solidFill>
                <a:ln w="6350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>
                  <a:outerShdw dist="28398" dir="3806097" algn="ctr" rotWithShape="0">
                    <a:srgbClr val="333333">
                      <a:alpha val="50000"/>
                    </a:srgbClr>
                  </a:outerShdw>
                </a:effectLst>
              </p:spPr>
              <p:txBody>
                <a:bodyPr/>
                <a:lstStyle/>
                <a:p>
                  <a:pPr>
                    <a:defRPr/>
                  </a:pPr>
                  <a:endParaRPr lang="zh-CN" altLang="en-US"/>
                </a:p>
              </p:txBody>
            </p:sp>
            <p:sp>
              <p:nvSpPr>
                <p:cNvPr id="144" name="Freeform 51"/>
                <p:cNvSpPr>
                  <a:spLocks/>
                </p:cNvSpPr>
                <p:nvPr/>
              </p:nvSpPr>
              <p:spPr bwMode="blackWhite">
                <a:xfrm>
                  <a:off x="4064" y="2777"/>
                  <a:ext cx="20" cy="69"/>
                </a:xfrm>
                <a:custGeom>
                  <a:avLst/>
                  <a:gdLst/>
                  <a:ahLst/>
                  <a:cxnLst>
                    <a:cxn ang="0">
                      <a:pos x="12" y="0"/>
                    </a:cxn>
                    <a:cxn ang="0">
                      <a:pos x="0" y="16"/>
                    </a:cxn>
                    <a:cxn ang="0">
                      <a:pos x="6" y="37"/>
                    </a:cxn>
                    <a:cxn ang="0">
                      <a:pos x="1" y="61"/>
                    </a:cxn>
                    <a:cxn ang="0">
                      <a:pos x="16" y="94"/>
                    </a:cxn>
                    <a:cxn ang="0">
                      <a:pos x="30" y="82"/>
                    </a:cxn>
                    <a:cxn ang="0">
                      <a:pos x="22" y="61"/>
                    </a:cxn>
                    <a:cxn ang="0">
                      <a:pos x="12" y="0"/>
                    </a:cxn>
                  </a:cxnLst>
                  <a:rect l="0" t="0" r="r" b="b"/>
                  <a:pathLst>
                    <a:path w="30" h="94">
                      <a:moveTo>
                        <a:pt x="12" y="0"/>
                      </a:moveTo>
                      <a:cubicBezTo>
                        <a:pt x="9" y="6"/>
                        <a:pt x="4" y="11"/>
                        <a:pt x="0" y="16"/>
                      </a:cubicBezTo>
                      <a:cubicBezTo>
                        <a:pt x="1" y="23"/>
                        <a:pt x="3" y="30"/>
                        <a:pt x="6" y="37"/>
                      </a:cubicBezTo>
                      <a:cubicBezTo>
                        <a:pt x="3" y="45"/>
                        <a:pt x="4" y="53"/>
                        <a:pt x="1" y="61"/>
                      </a:cubicBezTo>
                      <a:cubicBezTo>
                        <a:pt x="3" y="81"/>
                        <a:pt x="2" y="83"/>
                        <a:pt x="16" y="94"/>
                      </a:cubicBezTo>
                      <a:cubicBezTo>
                        <a:pt x="24" y="92"/>
                        <a:pt x="27" y="90"/>
                        <a:pt x="30" y="82"/>
                      </a:cubicBezTo>
                      <a:cubicBezTo>
                        <a:pt x="28" y="73"/>
                        <a:pt x="26" y="69"/>
                        <a:pt x="22" y="61"/>
                      </a:cubicBezTo>
                      <a:cubicBezTo>
                        <a:pt x="19" y="40"/>
                        <a:pt x="18" y="20"/>
                        <a:pt x="12" y="0"/>
                      </a:cubicBezTo>
                      <a:close/>
                    </a:path>
                  </a:pathLst>
                </a:custGeom>
                <a:solidFill>
                  <a:srgbClr val="C0C0C0"/>
                </a:solidFill>
                <a:ln w="6350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>
                  <a:outerShdw dist="28398" dir="3806097" algn="ctr" rotWithShape="0">
                    <a:srgbClr val="333333">
                      <a:alpha val="50000"/>
                    </a:srgbClr>
                  </a:outerShdw>
                </a:effectLst>
              </p:spPr>
              <p:txBody>
                <a:bodyPr/>
                <a:lstStyle/>
                <a:p>
                  <a:pPr>
                    <a:defRPr/>
                  </a:pPr>
                  <a:endParaRPr lang="zh-CN" altLang="en-US"/>
                </a:p>
              </p:txBody>
            </p:sp>
            <p:sp>
              <p:nvSpPr>
                <p:cNvPr id="145" name="Freeform 52"/>
                <p:cNvSpPr>
                  <a:spLocks/>
                </p:cNvSpPr>
                <p:nvPr/>
              </p:nvSpPr>
              <p:spPr bwMode="blackWhite">
                <a:xfrm>
                  <a:off x="4078" y="2896"/>
                  <a:ext cx="61" cy="120"/>
                </a:xfrm>
                <a:custGeom>
                  <a:avLst/>
                  <a:gdLst/>
                  <a:ahLst/>
                  <a:cxnLst>
                    <a:cxn ang="0">
                      <a:pos x="12" y="2"/>
                    </a:cxn>
                    <a:cxn ang="0">
                      <a:pos x="0" y="20"/>
                    </a:cxn>
                    <a:cxn ang="0">
                      <a:pos x="8" y="49"/>
                    </a:cxn>
                    <a:cxn ang="0">
                      <a:pos x="6" y="107"/>
                    </a:cxn>
                    <a:cxn ang="0">
                      <a:pos x="17" y="103"/>
                    </a:cxn>
                    <a:cxn ang="0">
                      <a:pos x="20" y="115"/>
                    </a:cxn>
                    <a:cxn ang="0">
                      <a:pos x="29" y="122"/>
                    </a:cxn>
                    <a:cxn ang="0">
                      <a:pos x="38" y="140"/>
                    </a:cxn>
                    <a:cxn ang="0">
                      <a:pos x="48" y="128"/>
                    </a:cxn>
                    <a:cxn ang="0">
                      <a:pos x="65" y="134"/>
                    </a:cxn>
                    <a:cxn ang="0">
                      <a:pos x="63" y="109"/>
                    </a:cxn>
                    <a:cxn ang="0">
                      <a:pos x="48" y="104"/>
                    </a:cxn>
                    <a:cxn ang="0">
                      <a:pos x="39" y="91"/>
                    </a:cxn>
                    <a:cxn ang="0">
                      <a:pos x="33" y="73"/>
                    </a:cxn>
                    <a:cxn ang="0">
                      <a:pos x="41" y="53"/>
                    </a:cxn>
                    <a:cxn ang="0">
                      <a:pos x="35" y="35"/>
                    </a:cxn>
                    <a:cxn ang="0">
                      <a:pos x="42" y="20"/>
                    </a:cxn>
                    <a:cxn ang="0">
                      <a:pos x="29" y="4"/>
                    </a:cxn>
                    <a:cxn ang="0">
                      <a:pos x="18" y="7"/>
                    </a:cxn>
                    <a:cxn ang="0">
                      <a:pos x="12" y="2"/>
                    </a:cxn>
                  </a:cxnLst>
                  <a:rect l="0" t="0" r="r" b="b"/>
                  <a:pathLst>
                    <a:path w="81" h="158">
                      <a:moveTo>
                        <a:pt x="12" y="2"/>
                      </a:moveTo>
                      <a:cubicBezTo>
                        <a:pt x="8" y="8"/>
                        <a:pt x="3" y="13"/>
                        <a:pt x="0" y="20"/>
                      </a:cubicBezTo>
                      <a:cubicBezTo>
                        <a:pt x="5" y="31"/>
                        <a:pt x="6" y="35"/>
                        <a:pt x="8" y="49"/>
                      </a:cubicBezTo>
                      <a:cubicBezTo>
                        <a:pt x="7" y="69"/>
                        <a:pt x="4" y="87"/>
                        <a:pt x="6" y="107"/>
                      </a:cubicBezTo>
                      <a:cubicBezTo>
                        <a:pt x="8" y="106"/>
                        <a:pt x="14" y="101"/>
                        <a:pt x="17" y="103"/>
                      </a:cubicBezTo>
                      <a:cubicBezTo>
                        <a:pt x="20" y="105"/>
                        <a:pt x="17" y="112"/>
                        <a:pt x="20" y="115"/>
                      </a:cubicBezTo>
                      <a:cubicBezTo>
                        <a:pt x="22" y="118"/>
                        <a:pt x="29" y="122"/>
                        <a:pt x="29" y="122"/>
                      </a:cubicBezTo>
                      <a:cubicBezTo>
                        <a:pt x="29" y="133"/>
                        <a:pt x="27" y="158"/>
                        <a:pt x="38" y="140"/>
                      </a:cubicBezTo>
                      <a:cubicBezTo>
                        <a:pt x="39" y="133"/>
                        <a:pt x="41" y="131"/>
                        <a:pt x="48" y="128"/>
                      </a:cubicBezTo>
                      <a:cubicBezTo>
                        <a:pt x="55" y="130"/>
                        <a:pt x="59" y="133"/>
                        <a:pt x="65" y="134"/>
                      </a:cubicBezTo>
                      <a:cubicBezTo>
                        <a:pt x="81" y="131"/>
                        <a:pt x="76" y="112"/>
                        <a:pt x="63" y="109"/>
                      </a:cubicBezTo>
                      <a:cubicBezTo>
                        <a:pt x="58" y="107"/>
                        <a:pt x="53" y="106"/>
                        <a:pt x="48" y="104"/>
                      </a:cubicBezTo>
                      <a:cubicBezTo>
                        <a:pt x="45" y="100"/>
                        <a:pt x="42" y="95"/>
                        <a:pt x="39" y="91"/>
                      </a:cubicBezTo>
                      <a:cubicBezTo>
                        <a:pt x="38" y="85"/>
                        <a:pt x="36" y="79"/>
                        <a:pt x="33" y="73"/>
                      </a:cubicBezTo>
                      <a:cubicBezTo>
                        <a:pt x="31" y="64"/>
                        <a:pt x="33" y="58"/>
                        <a:pt x="41" y="53"/>
                      </a:cubicBezTo>
                      <a:cubicBezTo>
                        <a:pt x="48" y="44"/>
                        <a:pt x="47" y="38"/>
                        <a:pt x="35" y="35"/>
                      </a:cubicBezTo>
                      <a:cubicBezTo>
                        <a:pt x="36" y="28"/>
                        <a:pt x="39" y="26"/>
                        <a:pt x="42" y="20"/>
                      </a:cubicBezTo>
                      <a:cubicBezTo>
                        <a:pt x="41" y="13"/>
                        <a:pt x="35" y="8"/>
                        <a:pt x="29" y="4"/>
                      </a:cubicBezTo>
                      <a:cubicBezTo>
                        <a:pt x="25" y="9"/>
                        <a:pt x="23" y="13"/>
                        <a:pt x="18" y="7"/>
                      </a:cubicBezTo>
                      <a:cubicBezTo>
                        <a:pt x="17" y="0"/>
                        <a:pt x="19" y="2"/>
                        <a:pt x="12" y="2"/>
                      </a:cubicBezTo>
                      <a:close/>
                    </a:path>
                  </a:pathLst>
                </a:custGeom>
                <a:solidFill>
                  <a:srgbClr val="C0C0C0"/>
                </a:solidFill>
                <a:ln w="6350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>
                  <a:outerShdw dist="28398" dir="3806097" algn="ctr" rotWithShape="0">
                    <a:srgbClr val="333333">
                      <a:alpha val="50000"/>
                    </a:srgbClr>
                  </a:outerShdw>
                </a:effectLst>
              </p:spPr>
              <p:txBody>
                <a:bodyPr/>
                <a:lstStyle/>
                <a:p>
                  <a:pPr>
                    <a:defRPr/>
                  </a:pPr>
                  <a:endParaRPr lang="zh-CN" altLang="en-US"/>
                </a:p>
              </p:txBody>
            </p:sp>
            <p:sp>
              <p:nvSpPr>
                <p:cNvPr id="146" name="Freeform 53"/>
                <p:cNvSpPr>
                  <a:spLocks/>
                </p:cNvSpPr>
                <p:nvPr/>
              </p:nvSpPr>
              <p:spPr bwMode="blackWhite">
                <a:xfrm>
                  <a:off x="4121" y="3052"/>
                  <a:ext cx="64" cy="77"/>
                </a:xfrm>
                <a:custGeom>
                  <a:avLst/>
                  <a:gdLst/>
                  <a:ahLst/>
                  <a:cxnLst>
                    <a:cxn ang="0">
                      <a:pos x="52" y="0"/>
                    </a:cxn>
                    <a:cxn ang="0">
                      <a:pos x="44" y="18"/>
                    </a:cxn>
                    <a:cxn ang="0">
                      <a:pos x="32" y="30"/>
                    </a:cxn>
                    <a:cxn ang="0">
                      <a:pos x="16" y="35"/>
                    </a:cxn>
                    <a:cxn ang="0">
                      <a:pos x="8" y="48"/>
                    </a:cxn>
                    <a:cxn ang="0">
                      <a:pos x="4" y="74"/>
                    </a:cxn>
                    <a:cxn ang="0">
                      <a:pos x="13" y="71"/>
                    </a:cxn>
                    <a:cxn ang="0">
                      <a:pos x="25" y="62"/>
                    </a:cxn>
                    <a:cxn ang="0">
                      <a:pos x="34" y="69"/>
                    </a:cxn>
                    <a:cxn ang="0">
                      <a:pos x="58" y="99"/>
                    </a:cxn>
                    <a:cxn ang="0">
                      <a:pos x="71" y="72"/>
                    </a:cxn>
                    <a:cxn ang="0">
                      <a:pos x="85" y="68"/>
                    </a:cxn>
                    <a:cxn ang="0">
                      <a:pos x="74" y="39"/>
                    </a:cxn>
                    <a:cxn ang="0">
                      <a:pos x="52" y="0"/>
                    </a:cxn>
                  </a:cxnLst>
                  <a:rect l="0" t="0" r="r" b="b"/>
                  <a:pathLst>
                    <a:path w="85" h="105">
                      <a:moveTo>
                        <a:pt x="52" y="0"/>
                      </a:moveTo>
                      <a:cubicBezTo>
                        <a:pt x="50" y="6"/>
                        <a:pt x="47" y="12"/>
                        <a:pt x="44" y="18"/>
                      </a:cubicBezTo>
                      <a:cubicBezTo>
                        <a:pt x="43" y="28"/>
                        <a:pt x="42" y="28"/>
                        <a:pt x="32" y="30"/>
                      </a:cubicBezTo>
                      <a:cubicBezTo>
                        <a:pt x="27" y="33"/>
                        <a:pt x="21" y="33"/>
                        <a:pt x="16" y="35"/>
                      </a:cubicBezTo>
                      <a:cubicBezTo>
                        <a:pt x="13" y="39"/>
                        <a:pt x="11" y="44"/>
                        <a:pt x="8" y="48"/>
                      </a:cubicBezTo>
                      <a:cubicBezTo>
                        <a:pt x="4" y="66"/>
                        <a:pt x="0" y="42"/>
                        <a:pt x="4" y="74"/>
                      </a:cubicBezTo>
                      <a:cubicBezTo>
                        <a:pt x="7" y="73"/>
                        <a:pt x="10" y="73"/>
                        <a:pt x="13" y="71"/>
                      </a:cubicBezTo>
                      <a:cubicBezTo>
                        <a:pt x="19" y="67"/>
                        <a:pt x="17" y="64"/>
                        <a:pt x="25" y="62"/>
                      </a:cubicBezTo>
                      <a:cubicBezTo>
                        <a:pt x="32" y="59"/>
                        <a:pt x="31" y="64"/>
                        <a:pt x="34" y="69"/>
                      </a:cubicBezTo>
                      <a:cubicBezTo>
                        <a:pt x="37" y="82"/>
                        <a:pt x="44" y="96"/>
                        <a:pt x="58" y="99"/>
                      </a:cubicBezTo>
                      <a:cubicBezTo>
                        <a:pt x="70" y="105"/>
                        <a:pt x="60" y="78"/>
                        <a:pt x="71" y="72"/>
                      </a:cubicBezTo>
                      <a:cubicBezTo>
                        <a:pt x="78" y="74"/>
                        <a:pt x="80" y="74"/>
                        <a:pt x="85" y="68"/>
                      </a:cubicBezTo>
                      <a:cubicBezTo>
                        <a:pt x="82" y="56"/>
                        <a:pt x="80" y="49"/>
                        <a:pt x="74" y="39"/>
                      </a:cubicBezTo>
                      <a:cubicBezTo>
                        <a:pt x="73" y="6"/>
                        <a:pt x="80" y="6"/>
                        <a:pt x="52" y="0"/>
                      </a:cubicBezTo>
                      <a:close/>
                    </a:path>
                  </a:pathLst>
                </a:custGeom>
                <a:solidFill>
                  <a:srgbClr val="C0C0C0"/>
                </a:solidFill>
                <a:ln w="6350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>
                  <a:outerShdw dist="28398" dir="3806097" algn="ctr" rotWithShape="0">
                    <a:srgbClr val="333333">
                      <a:alpha val="50000"/>
                    </a:srgbClr>
                  </a:outerShdw>
                </a:effectLst>
              </p:spPr>
              <p:txBody>
                <a:bodyPr/>
                <a:lstStyle/>
                <a:p>
                  <a:pPr>
                    <a:defRPr/>
                  </a:pPr>
                  <a:endParaRPr lang="zh-CN" altLang="en-US"/>
                </a:p>
              </p:txBody>
            </p:sp>
            <p:sp>
              <p:nvSpPr>
                <p:cNvPr id="147" name="Freeform 54"/>
                <p:cNvSpPr>
                  <a:spLocks/>
                </p:cNvSpPr>
                <p:nvPr/>
              </p:nvSpPr>
              <p:spPr bwMode="blackWhite">
                <a:xfrm>
                  <a:off x="4197" y="3193"/>
                  <a:ext cx="29" cy="49"/>
                </a:xfrm>
                <a:custGeom>
                  <a:avLst/>
                  <a:gdLst/>
                  <a:ahLst/>
                  <a:cxnLst>
                    <a:cxn ang="0">
                      <a:pos x="6" y="27"/>
                    </a:cxn>
                    <a:cxn ang="0">
                      <a:pos x="26" y="66"/>
                    </a:cxn>
                    <a:cxn ang="0">
                      <a:pos x="30" y="52"/>
                    </a:cxn>
                    <a:cxn ang="0">
                      <a:pos x="38" y="40"/>
                    </a:cxn>
                    <a:cxn ang="0">
                      <a:pos x="30" y="25"/>
                    </a:cxn>
                    <a:cxn ang="0">
                      <a:pos x="20" y="13"/>
                    </a:cxn>
                    <a:cxn ang="0">
                      <a:pos x="11" y="1"/>
                    </a:cxn>
                    <a:cxn ang="0">
                      <a:pos x="2" y="12"/>
                    </a:cxn>
                    <a:cxn ang="0">
                      <a:pos x="6" y="27"/>
                    </a:cxn>
                  </a:cxnLst>
                  <a:rect l="0" t="0" r="r" b="b"/>
                  <a:pathLst>
                    <a:path w="38" h="66">
                      <a:moveTo>
                        <a:pt x="6" y="27"/>
                      </a:moveTo>
                      <a:cubicBezTo>
                        <a:pt x="8" y="52"/>
                        <a:pt x="5" y="58"/>
                        <a:pt x="26" y="66"/>
                      </a:cubicBezTo>
                      <a:cubicBezTo>
                        <a:pt x="36" y="63"/>
                        <a:pt x="33" y="61"/>
                        <a:pt x="30" y="52"/>
                      </a:cubicBezTo>
                      <a:cubicBezTo>
                        <a:pt x="28" y="41"/>
                        <a:pt x="34" y="49"/>
                        <a:pt x="38" y="40"/>
                      </a:cubicBezTo>
                      <a:cubicBezTo>
                        <a:pt x="34" y="35"/>
                        <a:pt x="33" y="30"/>
                        <a:pt x="30" y="25"/>
                      </a:cubicBezTo>
                      <a:cubicBezTo>
                        <a:pt x="29" y="14"/>
                        <a:pt x="30" y="0"/>
                        <a:pt x="20" y="13"/>
                      </a:cubicBezTo>
                      <a:cubicBezTo>
                        <a:pt x="14" y="9"/>
                        <a:pt x="12" y="8"/>
                        <a:pt x="11" y="1"/>
                      </a:cubicBezTo>
                      <a:cubicBezTo>
                        <a:pt x="5" y="4"/>
                        <a:pt x="3" y="5"/>
                        <a:pt x="2" y="12"/>
                      </a:cubicBezTo>
                      <a:cubicBezTo>
                        <a:pt x="3" y="25"/>
                        <a:pt x="0" y="21"/>
                        <a:pt x="6" y="27"/>
                      </a:cubicBezTo>
                      <a:close/>
                    </a:path>
                  </a:pathLst>
                </a:custGeom>
                <a:solidFill>
                  <a:srgbClr val="C0C0C0"/>
                </a:solidFill>
                <a:ln w="6350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>
                  <a:outerShdw dist="28398" dir="3806097" algn="ctr" rotWithShape="0">
                    <a:srgbClr val="333333">
                      <a:alpha val="50000"/>
                    </a:srgbClr>
                  </a:outerShdw>
                </a:effectLst>
              </p:spPr>
              <p:txBody>
                <a:bodyPr/>
                <a:lstStyle/>
                <a:p>
                  <a:pPr>
                    <a:defRPr/>
                  </a:pPr>
                  <a:endParaRPr lang="zh-CN" altLang="en-US"/>
                </a:p>
              </p:txBody>
            </p:sp>
            <p:sp>
              <p:nvSpPr>
                <p:cNvPr id="148" name="Freeform 55"/>
                <p:cNvSpPr>
                  <a:spLocks/>
                </p:cNvSpPr>
                <p:nvPr/>
              </p:nvSpPr>
              <p:spPr bwMode="blackWhite">
                <a:xfrm>
                  <a:off x="4181" y="3275"/>
                  <a:ext cx="18" cy="17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6" y="23"/>
                    </a:cxn>
                    <a:cxn ang="0">
                      <a:pos x="24" y="1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24" h="23">
                      <a:moveTo>
                        <a:pt x="0" y="0"/>
                      </a:moveTo>
                      <a:cubicBezTo>
                        <a:pt x="1" y="8"/>
                        <a:pt x="3" y="16"/>
                        <a:pt x="6" y="23"/>
                      </a:cubicBezTo>
                      <a:cubicBezTo>
                        <a:pt x="19" y="20"/>
                        <a:pt x="19" y="22"/>
                        <a:pt x="24" y="11"/>
                      </a:cubicBezTo>
                      <a:cubicBezTo>
                        <a:pt x="20" y="0"/>
                        <a:pt x="4" y="8"/>
                        <a:pt x="0" y="0"/>
                      </a:cubicBezTo>
                      <a:close/>
                    </a:path>
                  </a:pathLst>
                </a:custGeom>
                <a:solidFill>
                  <a:srgbClr val="C0C0C0"/>
                </a:solidFill>
                <a:ln w="6350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>
                  <a:outerShdw dist="28398" dir="3806097" algn="ctr" rotWithShape="0">
                    <a:srgbClr val="333333">
                      <a:alpha val="50000"/>
                    </a:srgbClr>
                  </a:outerShdw>
                </a:effectLst>
              </p:spPr>
              <p:txBody>
                <a:bodyPr/>
                <a:lstStyle/>
                <a:p>
                  <a:pPr>
                    <a:defRPr/>
                  </a:pPr>
                  <a:endParaRPr lang="zh-CN" altLang="en-US"/>
                </a:p>
              </p:txBody>
            </p:sp>
            <p:sp>
              <p:nvSpPr>
                <p:cNvPr id="149" name="Freeform 56"/>
                <p:cNvSpPr>
                  <a:spLocks/>
                </p:cNvSpPr>
                <p:nvPr/>
              </p:nvSpPr>
              <p:spPr bwMode="blackWhite">
                <a:xfrm>
                  <a:off x="4209" y="3265"/>
                  <a:ext cx="46" cy="37"/>
                </a:xfrm>
                <a:custGeom>
                  <a:avLst/>
                  <a:gdLst/>
                  <a:ahLst/>
                  <a:cxnLst>
                    <a:cxn ang="0">
                      <a:pos x="9" y="0"/>
                    </a:cxn>
                    <a:cxn ang="0">
                      <a:pos x="0" y="18"/>
                    </a:cxn>
                    <a:cxn ang="0">
                      <a:pos x="28" y="33"/>
                    </a:cxn>
                    <a:cxn ang="0">
                      <a:pos x="42" y="46"/>
                    </a:cxn>
                    <a:cxn ang="0">
                      <a:pos x="60" y="42"/>
                    </a:cxn>
                    <a:cxn ang="0">
                      <a:pos x="49" y="24"/>
                    </a:cxn>
                    <a:cxn ang="0">
                      <a:pos x="28" y="3"/>
                    </a:cxn>
                    <a:cxn ang="0">
                      <a:pos x="19" y="16"/>
                    </a:cxn>
                    <a:cxn ang="0">
                      <a:pos x="9" y="0"/>
                    </a:cxn>
                  </a:cxnLst>
                  <a:rect l="0" t="0" r="r" b="b"/>
                  <a:pathLst>
                    <a:path w="60" h="49">
                      <a:moveTo>
                        <a:pt x="9" y="0"/>
                      </a:moveTo>
                      <a:cubicBezTo>
                        <a:pt x="8" y="7"/>
                        <a:pt x="0" y="18"/>
                        <a:pt x="0" y="18"/>
                      </a:cubicBezTo>
                      <a:cubicBezTo>
                        <a:pt x="2" y="36"/>
                        <a:pt x="9" y="31"/>
                        <a:pt x="28" y="33"/>
                      </a:cubicBezTo>
                      <a:cubicBezTo>
                        <a:pt x="33" y="40"/>
                        <a:pt x="33" y="44"/>
                        <a:pt x="42" y="46"/>
                      </a:cubicBezTo>
                      <a:cubicBezTo>
                        <a:pt x="49" y="49"/>
                        <a:pt x="56" y="49"/>
                        <a:pt x="60" y="42"/>
                      </a:cubicBezTo>
                      <a:cubicBezTo>
                        <a:pt x="58" y="32"/>
                        <a:pt x="59" y="26"/>
                        <a:pt x="49" y="24"/>
                      </a:cubicBezTo>
                      <a:cubicBezTo>
                        <a:pt x="47" y="12"/>
                        <a:pt x="41" y="5"/>
                        <a:pt x="28" y="3"/>
                      </a:cubicBezTo>
                      <a:cubicBezTo>
                        <a:pt x="23" y="10"/>
                        <a:pt x="30" y="23"/>
                        <a:pt x="19" y="16"/>
                      </a:cubicBezTo>
                      <a:cubicBezTo>
                        <a:pt x="17" y="6"/>
                        <a:pt x="20" y="0"/>
                        <a:pt x="9" y="0"/>
                      </a:cubicBezTo>
                      <a:close/>
                    </a:path>
                  </a:pathLst>
                </a:custGeom>
                <a:solidFill>
                  <a:srgbClr val="C0C0C0"/>
                </a:solidFill>
                <a:ln w="6350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>
                  <a:outerShdw dist="28398" dir="3806097" algn="ctr" rotWithShape="0">
                    <a:srgbClr val="333333">
                      <a:alpha val="50000"/>
                    </a:srgbClr>
                  </a:outerShdw>
                </a:effectLst>
              </p:spPr>
              <p:txBody>
                <a:bodyPr/>
                <a:lstStyle/>
                <a:p>
                  <a:pPr>
                    <a:defRPr/>
                  </a:pPr>
                  <a:endParaRPr lang="zh-CN" altLang="en-US"/>
                </a:p>
              </p:txBody>
            </p:sp>
            <p:sp>
              <p:nvSpPr>
                <p:cNvPr id="150" name="Freeform 57"/>
                <p:cNvSpPr>
                  <a:spLocks/>
                </p:cNvSpPr>
                <p:nvPr/>
              </p:nvSpPr>
              <p:spPr bwMode="blackWhite">
                <a:xfrm>
                  <a:off x="4277" y="3335"/>
                  <a:ext cx="26" cy="31"/>
                </a:xfrm>
                <a:custGeom>
                  <a:avLst/>
                  <a:gdLst/>
                  <a:ahLst/>
                  <a:cxnLst>
                    <a:cxn ang="0">
                      <a:pos x="28" y="0"/>
                    </a:cxn>
                    <a:cxn ang="0">
                      <a:pos x="10" y="11"/>
                    </a:cxn>
                    <a:cxn ang="0">
                      <a:pos x="12" y="32"/>
                    </a:cxn>
                    <a:cxn ang="0">
                      <a:pos x="24" y="36"/>
                    </a:cxn>
                    <a:cxn ang="0">
                      <a:pos x="28" y="0"/>
                    </a:cxn>
                  </a:cxnLst>
                  <a:rect l="0" t="0" r="r" b="b"/>
                  <a:pathLst>
                    <a:path w="32" h="44">
                      <a:moveTo>
                        <a:pt x="28" y="0"/>
                      </a:moveTo>
                      <a:cubicBezTo>
                        <a:pt x="32" y="10"/>
                        <a:pt x="18" y="9"/>
                        <a:pt x="10" y="11"/>
                      </a:cubicBezTo>
                      <a:cubicBezTo>
                        <a:pt x="0" y="18"/>
                        <a:pt x="7" y="24"/>
                        <a:pt x="12" y="32"/>
                      </a:cubicBezTo>
                      <a:cubicBezTo>
                        <a:pt x="14" y="44"/>
                        <a:pt x="15" y="41"/>
                        <a:pt x="24" y="36"/>
                      </a:cubicBezTo>
                      <a:cubicBezTo>
                        <a:pt x="32" y="25"/>
                        <a:pt x="29" y="14"/>
                        <a:pt x="28" y="0"/>
                      </a:cubicBezTo>
                      <a:close/>
                    </a:path>
                  </a:pathLst>
                </a:custGeom>
                <a:solidFill>
                  <a:srgbClr val="C0C0C0"/>
                </a:solidFill>
                <a:ln w="6350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>
                  <a:outerShdw dist="28398" dir="3806097" algn="ctr" rotWithShape="0">
                    <a:srgbClr val="333333">
                      <a:alpha val="50000"/>
                    </a:srgbClr>
                  </a:outerShdw>
                </a:effectLst>
              </p:spPr>
              <p:txBody>
                <a:bodyPr/>
                <a:lstStyle/>
                <a:p>
                  <a:pPr>
                    <a:defRPr/>
                  </a:pPr>
                  <a:endParaRPr lang="zh-CN" altLang="en-US"/>
                </a:p>
              </p:txBody>
            </p:sp>
            <p:sp>
              <p:nvSpPr>
                <p:cNvPr id="151" name="Freeform 58"/>
                <p:cNvSpPr>
                  <a:spLocks/>
                </p:cNvSpPr>
                <p:nvPr/>
              </p:nvSpPr>
              <p:spPr bwMode="blackWhite">
                <a:xfrm>
                  <a:off x="4544" y="3293"/>
                  <a:ext cx="46" cy="47"/>
                </a:xfrm>
                <a:custGeom>
                  <a:avLst/>
                  <a:gdLst/>
                  <a:ahLst/>
                  <a:cxnLst>
                    <a:cxn ang="0">
                      <a:pos x="7" y="0"/>
                    </a:cxn>
                    <a:cxn ang="0">
                      <a:pos x="0" y="14"/>
                    </a:cxn>
                    <a:cxn ang="0">
                      <a:pos x="24" y="35"/>
                    </a:cxn>
                    <a:cxn ang="0">
                      <a:pos x="36" y="54"/>
                    </a:cxn>
                    <a:cxn ang="0">
                      <a:pos x="46" y="63"/>
                    </a:cxn>
                    <a:cxn ang="0">
                      <a:pos x="61" y="56"/>
                    </a:cxn>
                    <a:cxn ang="0">
                      <a:pos x="33" y="17"/>
                    </a:cxn>
                    <a:cxn ang="0">
                      <a:pos x="7" y="0"/>
                    </a:cxn>
                  </a:cxnLst>
                  <a:rect l="0" t="0" r="r" b="b"/>
                  <a:pathLst>
                    <a:path w="61" h="63">
                      <a:moveTo>
                        <a:pt x="7" y="0"/>
                      </a:moveTo>
                      <a:cubicBezTo>
                        <a:pt x="6" y="6"/>
                        <a:pt x="3" y="9"/>
                        <a:pt x="0" y="14"/>
                      </a:cubicBezTo>
                      <a:cubicBezTo>
                        <a:pt x="7" y="23"/>
                        <a:pt x="13" y="31"/>
                        <a:pt x="24" y="35"/>
                      </a:cubicBezTo>
                      <a:cubicBezTo>
                        <a:pt x="27" y="42"/>
                        <a:pt x="31" y="48"/>
                        <a:pt x="36" y="54"/>
                      </a:cubicBezTo>
                      <a:cubicBezTo>
                        <a:pt x="37" y="61"/>
                        <a:pt x="40" y="59"/>
                        <a:pt x="46" y="63"/>
                      </a:cubicBezTo>
                      <a:cubicBezTo>
                        <a:pt x="54" y="62"/>
                        <a:pt x="56" y="62"/>
                        <a:pt x="61" y="56"/>
                      </a:cubicBezTo>
                      <a:cubicBezTo>
                        <a:pt x="59" y="46"/>
                        <a:pt x="42" y="23"/>
                        <a:pt x="33" y="17"/>
                      </a:cubicBezTo>
                      <a:cubicBezTo>
                        <a:pt x="23" y="10"/>
                        <a:pt x="14" y="9"/>
                        <a:pt x="7" y="0"/>
                      </a:cubicBezTo>
                      <a:close/>
                    </a:path>
                  </a:pathLst>
                </a:custGeom>
                <a:solidFill>
                  <a:srgbClr val="C0C0C0"/>
                </a:solidFill>
                <a:ln w="6350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>
                  <a:outerShdw dist="28398" dir="3806097" algn="ctr" rotWithShape="0">
                    <a:srgbClr val="333333">
                      <a:alpha val="50000"/>
                    </a:srgbClr>
                  </a:outerShdw>
                </a:effectLst>
              </p:spPr>
              <p:txBody>
                <a:bodyPr/>
                <a:lstStyle/>
                <a:p>
                  <a:pPr>
                    <a:defRPr/>
                  </a:pPr>
                  <a:endParaRPr lang="zh-CN" altLang="en-US"/>
                </a:p>
              </p:txBody>
            </p:sp>
            <p:sp>
              <p:nvSpPr>
                <p:cNvPr id="152" name="Freeform 59"/>
                <p:cNvSpPr>
                  <a:spLocks/>
                </p:cNvSpPr>
                <p:nvPr/>
              </p:nvSpPr>
              <p:spPr bwMode="blackWhite">
                <a:xfrm>
                  <a:off x="4147" y="3352"/>
                  <a:ext cx="46" cy="50"/>
                </a:xfrm>
                <a:custGeom>
                  <a:avLst/>
                  <a:gdLst/>
                  <a:ahLst/>
                  <a:cxnLst>
                    <a:cxn ang="0">
                      <a:pos x="28" y="7"/>
                    </a:cxn>
                    <a:cxn ang="0">
                      <a:pos x="30" y="34"/>
                    </a:cxn>
                    <a:cxn ang="0">
                      <a:pos x="16" y="43"/>
                    </a:cxn>
                    <a:cxn ang="0">
                      <a:pos x="22" y="67"/>
                    </a:cxn>
                    <a:cxn ang="0">
                      <a:pos x="48" y="58"/>
                    </a:cxn>
                    <a:cxn ang="0">
                      <a:pos x="60" y="47"/>
                    </a:cxn>
                    <a:cxn ang="0">
                      <a:pos x="51" y="28"/>
                    </a:cxn>
                    <a:cxn ang="0">
                      <a:pos x="57" y="14"/>
                    </a:cxn>
                    <a:cxn ang="0">
                      <a:pos x="55" y="2"/>
                    </a:cxn>
                    <a:cxn ang="0">
                      <a:pos x="46" y="4"/>
                    </a:cxn>
                    <a:cxn ang="0">
                      <a:pos x="51" y="5"/>
                    </a:cxn>
                    <a:cxn ang="0">
                      <a:pos x="49" y="16"/>
                    </a:cxn>
                    <a:cxn ang="0">
                      <a:pos x="43" y="23"/>
                    </a:cxn>
                    <a:cxn ang="0">
                      <a:pos x="28" y="7"/>
                    </a:cxn>
                  </a:cxnLst>
                  <a:rect l="0" t="0" r="r" b="b"/>
                  <a:pathLst>
                    <a:path w="61" h="67">
                      <a:moveTo>
                        <a:pt x="28" y="7"/>
                      </a:moveTo>
                      <a:cubicBezTo>
                        <a:pt x="17" y="15"/>
                        <a:pt x="24" y="25"/>
                        <a:pt x="30" y="34"/>
                      </a:cubicBezTo>
                      <a:cubicBezTo>
                        <a:pt x="27" y="44"/>
                        <a:pt x="26" y="44"/>
                        <a:pt x="16" y="43"/>
                      </a:cubicBezTo>
                      <a:cubicBezTo>
                        <a:pt x="0" y="46"/>
                        <a:pt x="13" y="63"/>
                        <a:pt x="22" y="67"/>
                      </a:cubicBezTo>
                      <a:cubicBezTo>
                        <a:pt x="31" y="65"/>
                        <a:pt x="39" y="60"/>
                        <a:pt x="48" y="58"/>
                      </a:cubicBezTo>
                      <a:cubicBezTo>
                        <a:pt x="51" y="52"/>
                        <a:pt x="54" y="50"/>
                        <a:pt x="60" y="47"/>
                      </a:cubicBezTo>
                      <a:cubicBezTo>
                        <a:pt x="61" y="40"/>
                        <a:pt x="51" y="28"/>
                        <a:pt x="51" y="28"/>
                      </a:cubicBezTo>
                      <a:cubicBezTo>
                        <a:pt x="52" y="22"/>
                        <a:pt x="55" y="19"/>
                        <a:pt x="57" y="14"/>
                      </a:cubicBezTo>
                      <a:cubicBezTo>
                        <a:pt x="56" y="10"/>
                        <a:pt x="58" y="5"/>
                        <a:pt x="55" y="2"/>
                      </a:cubicBezTo>
                      <a:cubicBezTo>
                        <a:pt x="53" y="0"/>
                        <a:pt x="48" y="2"/>
                        <a:pt x="46" y="4"/>
                      </a:cubicBezTo>
                      <a:cubicBezTo>
                        <a:pt x="45" y="5"/>
                        <a:pt x="49" y="5"/>
                        <a:pt x="51" y="5"/>
                      </a:cubicBezTo>
                      <a:cubicBezTo>
                        <a:pt x="57" y="10"/>
                        <a:pt x="52" y="9"/>
                        <a:pt x="49" y="16"/>
                      </a:cubicBezTo>
                      <a:cubicBezTo>
                        <a:pt x="58" y="23"/>
                        <a:pt x="50" y="22"/>
                        <a:pt x="43" y="23"/>
                      </a:cubicBezTo>
                      <a:cubicBezTo>
                        <a:pt x="34" y="22"/>
                        <a:pt x="31" y="16"/>
                        <a:pt x="28" y="7"/>
                      </a:cubicBezTo>
                      <a:close/>
                    </a:path>
                  </a:pathLst>
                </a:custGeom>
                <a:solidFill>
                  <a:srgbClr val="C0C0C0"/>
                </a:solidFill>
                <a:ln w="6350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>
                  <a:outerShdw dist="28398" dir="3806097" algn="ctr" rotWithShape="0">
                    <a:srgbClr val="333333">
                      <a:alpha val="50000"/>
                    </a:srgbClr>
                  </a:outerShdw>
                </a:effectLst>
              </p:spPr>
              <p:txBody>
                <a:bodyPr/>
                <a:lstStyle/>
                <a:p>
                  <a:pPr>
                    <a:defRPr/>
                  </a:pPr>
                  <a:endParaRPr lang="zh-CN" altLang="en-US"/>
                </a:p>
              </p:txBody>
            </p:sp>
            <p:sp>
              <p:nvSpPr>
                <p:cNvPr id="153" name="Freeform 60"/>
                <p:cNvSpPr>
                  <a:spLocks/>
                </p:cNvSpPr>
                <p:nvPr/>
              </p:nvSpPr>
              <p:spPr bwMode="blackWhite">
                <a:xfrm>
                  <a:off x="4098" y="3371"/>
                  <a:ext cx="32" cy="27"/>
                </a:xfrm>
                <a:custGeom>
                  <a:avLst/>
                  <a:gdLst/>
                  <a:ahLst/>
                  <a:cxnLst>
                    <a:cxn ang="0">
                      <a:pos x="21" y="3"/>
                    </a:cxn>
                    <a:cxn ang="0">
                      <a:pos x="6" y="6"/>
                    </a:cxn>
                    <a:cxn ang="0">
                      <a:pos x="33" y="36"/>
                    </a:cxn>
                    <a:cxn ang="0">
                      <a:pos x="42" y="30"/>
                    </a:cxn>
                    <a:cxn ang="0">
                      <a:pos x="21" y="3"/>
                    </a:cxn>
                  </a:cxnLst>
                  <a:rect l="0" t="0" r="r" b="b"/>
                  <a:pathLst>
                    <a:path w="43" h="36">
                      <a:moveTo>
                        <a:pt x="21" y="3"/>
                      </a:moveTo>
                      <a:cubicBezTo>
                        <a:pt x="14" y="0"/>
                        <a:pt x="12" y="2"/>
                        <a:pt x="6" y="6"/>
                      </a:cubicBezTo>
                      <a:cubicBezTo>
                        <a:pt x="0" y="17"/>
                        <a:pt x="23" y="32"/>
                        <a:pt x="33" y="36"/>
                      </a:cubicBezTo>
                      <a:cubicBezTo>
                        <a:pt x="36" y="35"/>
                        <a:pt x="42" y="34"/>
                        <a:pt x="42" y="30"/>
                      </a:cubicBezTo>
                      <a:cubicBezTo>
                        <a:pt x="43" y="24"/>
                        <a:pt x="27" y="3"/>
                        <a:pt x="21" y="3"/>
                      </a:cubicBezTo>
                      <a:close/>
                    </a:path>
                  </a:pathLst>
                </a:custGeom>
                <a:solidFill>
                  <a:srgbClr val="C0C0C0"/>
                </a:solidFill>
                <a:ln w="6350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>
                  <a:outerShdw dist="28398" dir="3806097" algn="ctr" rotWithShape="0">
                    <a:srgbClr val="333333">
                      <a:alpha val="50000"/>
                    </a:srgbClr>
                  </a:outerShdw>
                </a:effectLst>
              </p:spPr>
              <p:txBody>
                <a:bodyPr/>
                <a:lstStyle/>
                <a:p>
                  <a:pPr>
                    <a:defRPr/>
                  </a:pPr>
                  <a:endParaRPr lang="zh-CN" altLang="en-US"/>
                </a:p>
              </p:txBody>
            </p:sp>
            <p:sp>
              <p:nvSpPr>
                <p:cNvPr id="154" name="Freeform 61"/>
                <p:cNvSpPr>
                  <a:spLocks/>
                </p:cNvSpPr>
                <p:nvPr/>
              </p:nvSpPr>
              <p:spPr bwMode="blackWhite">
                <a:xfrm>
                  <a:off x="4077" y="3342"/>
                  <a:ext cx="26" cy="31"/>
                </a:xfrm>
                <a:custGeom>
                  <a:avLst/>
                  <a:gdLst/>
                  <a:ahLst/>
                  <a:cxnLst>
                    <a:cxn ang="0">
                      <a:pos x="21" y="0"/>
                    </a:cxn>
                    <a:cxn ang="0">
                      <a:pos x="0" y="26"/>
                    </a:cxn>
                    <a:cxn ang="0">
                      <a:pos x="16" y="24"/>
                    </a:cxn>
                    <a:cxn ang="0">
                      <a:pos x="19" y="29"/>
                    </a:cxn>
                    <a:cxn ang="0">
                      <a:pos x="16" y="35"/>
                    </a:cxn>
                    <a:cxn ang="0">
                      <a:pos x="30" y="21"/>
                    </a:cxn>
                    <a:cxn ang="0">
                      <a:pos x="24" y="9"/>
                    </a:cxn>
                    <a:cxn ang="0">
                      <a:pos x="21" y="0"/>
                    </a:cxn>
                  </a:cxnLst>
                  <a:rect l="0" t="0" r="r" b="b"/>
                  <a:pathLst>
                    <a:path w="32" h="41">
                      <a:moveTo>
                        <a:pt x="21" y="0"/>
                      </a:moveTo>
                      <a:cubicBezTo>
                        <a:pt x="15" y="10"/>
                        <a:pt x="6" y="16"/>
                        <a:pt x="0" y="26"/>
                      </a:cubicBezTo>
                      <a:cubicBezTo>
                        <a:pt x="7" y="27"/>
                        <a:pt x="10" y="27"/>
                        <a:pt x="16" y="24"/>
                      </a:cubicBezTo>
                      <a:cubicBezTo>
                        <a:pt x="17" y="26"/>
                        <a:pt x="19" y="27"/>
                        <a:pt x="19" y="29"/>
                      </a:cubicBezTo>
                      <a:cubicBezTo>
                        <a:pt x="19" y="31"/>
                        <a:pt x="15" y="33"/>
                        <a:pt x="16" y="35"/>
                      </a:cubicBezTo>
                      <a:cubicBezTo>
                        <a:pt x="19" y="41"/>
                        <a:pt x="29" y="23"/>
                        <a:pt x="30" y="21"/>
                      </a:cubicBezTo>
                      <a:cubicBezTo>
                        <a:pt x="32" y="9"/>
                        <a:pt x="26" y="19"/>
                        <a:pt x="24" y="9"/>
                      </a:cubicBezTo>
                      <a:cubicBezTo>
                        <a:pt x="25" y="1"/>
                        <a:pt x="27" y="4"/>
                        <a:pt x="21" y="0"/>
                      </a:cubicBezTo>
                      <a:close/>
                    </a:path>
                  </a:pathLst>
                </a:custGeom>
                <a:solidFill>
                  <a:srgbClr val="C0C0C0"/>
                </a:solidFill>
                <a:ln w="6350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>
                  <a:outerShdw dist="28398" dir="3806097" algn="ctr" rotWithShape="0">
                    <a:srgbClr val="333333">
                      <a:alpha val="50000"/>
                    </a:srgbClr>
                  </a:outerShdw>
                </a:effectLst>
              </p:spPr>
              <p:txBody>
                <a:bodyPr/>
                <a:lstStyle/>
                <a:p>
                  <a:pPr>
                    <a:defRPr/>
                  </a:pPr>
                  <a:endParaRPr lang="zh-CN" altLang="en-US"/>
                </a:p>
              </p:txBody>
            </p:sp>
            <p:sp>
              <p:nvSpPr>
                <p:cNvPr id="155" name="Freeform 62"/>
                <p:cNvSpPr>
                  <a:spLocks/>
                </p:cNvSpPr>
                <p:nvPr/>
              </p:nvSpPr>
              <p:spPr bwMode="blackWhite">
                <a:xfrm>
                  <a:off x="4111" y="3353"/>
                  <a:ext cx="34" cy="22"/>
                </a:xfrm>
                <a:custGeom>
                  <a:avLst/>
                  <a:gdLst/>
                  <a:ahLst/>
                  <a:cxnLst>
                    <a:cxn ang="0">
                      <a:pos x="21" y="0"/>
                    </a:cxn>
                    <a:cxn ang="0">
                      <a:pos x="0" y="7"/>
                    </a:cxn>
                    <a:cxn ang="0">
                      <a:pos x="27" y="31"/>
                    </a:cxn>
                    <a:cxn ang="0">
                      <a:pos x="45" y="24"/>
                    </a:cxn>
                    <a:cxn ang="0">
                      <a:pos x="22" y="10"/>
                    </a:cxn>
                    <a:cxn ang="0">
                      <a:pos x="21" y="0"/>
                    </a:cxn>
                  </a:cxnLst>
                  <a:rect l="0" t="0" r="r" b="b"/>
                  <a:pathLst>
                    <a:path w="45" h="32">
                      <a:moveTo>
                        <a:pt x="21" y="0"/>
                      </a:moveTo>
                      <a:cubicBezTo>
                        <a:pt x="10" y="1"/>
                        <a:pt x="8" y="1"/>
                        <a:pt x="0" y="7"/>
                      </a:cubicBezTo>
                      <a:cubicBezTo>
                        <a:pt x="3" y="20"/>
                        <a:pt x="15" y="29"/>
                        <a:pt x="27" y="31"/>
                      </a:cubicBezTo>
                      <a:cubicBezTo>
                        <a:pt x="36" y="30"/>
                        <a:pt x="41" y="32"/>
                        <a:pt x="45" y="24"/>
                      </a:cubicBezTo>
                      <a:cubicBezTo>
                        <a:pt x="32" y="16"/>
                        <a:pt x="30" y="23"/>
                        <a:pt x="22" y="10"/>
                      </a:cubicBezTo>
                      <a:cubicBezTo>
                        <a:pt x="21" y="2"/>
                        <a:pt x="21" y="5"/>
                        <a:pt x="21" y="0"/>
                      </a:cubicBezTo>
                      <a:close/>
                    </a:path>
                  </a:pathLst>
                </a:custGeom>
                <a:solidFill>
                  <a:srgbClr val="C0C0C0"/>
                </a:solidFill>
                <a:ln w="6350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>
                  <a:outerShdw dist="28398" dir="3806097" algn="ctr" rotWithShape="0">
                    <a:srgbClr val="333333">
                      <a:alpha val="50000"/>
                    </a:srgbClr>
                  </a:outerShdw>
                </a:effectLst>
              </p:spPr>
              <p:txBody>
                <a:bodyPr/>
                <a:lstStyle/>
                <a:p>
                  <a:pPr>
                    <a:defRPr/>
                  </a:pPr>
                  <a:endParaRPr lang="zh-CN" altLang="en-US"/>
                </a:p>
              </p:txBody>
            </p:sp>
            <p:sp>
              <p:nvSpPr>
                <p:cNvPr id="156" name="Freeform 63"/>
                <p:cNvSpPr>
                  <a:spLocks/>
                </p:cNvSpPr>
                <p:nvPr/>
              </p:nvSpPr>
              <p:spPr bwMode="blackWhite">
                <a:xfrm>
                  <a:off x="4062" y="3021"/>
                  <a:ext cx="27" cy="55"/>
                </a:xfrm>
                <a:custGeom>
                  <a:avLst/>
                  <a:gdLst/>
                  <a:ahLst/>
                  <a:cxnLst>
                    <a:cxn ang="0">
                      <a:pos x="30" y="0"/>
                    </a:cxn>
                    <a:cxn ang="0">
                      <a:pos x="21" y="15"/>
                    </a:cxn>
                    <a:cxn ang="0">
                      <a:pos x="9" y="36"/>
                    </a:cxn>
                    <a:cxn ang="0">
                      <a:pos x="0" y="59"/>
                    </a:cxn>
                    <a:cxn ang="0">
                      <a:pos x="8" y="74"/>
                    </a:cxn>
                    <a:cxn ang="0">
                      <a:pos x="20" y="59"/>
                    </a:cxn>
                    <a:cxn ang="0">
                      <a:pos x="35" y="32"/>
                    </a:cxn>
                    <a:cxn ang="0">
                      <a:pos x="30" y="0"/>
                    </a:cxn>
                  </a:cxnLst>
                  <a:rect l="0" t="0" r="r" b="b"/>
                  <a:pathLst>
                    <a:path w="35" h="74">
                      <a:moveTo>
                        <a:pt x="30" y="0"/>
                      </a:moveTo>
                      <a:cubicBezTo>
                        <a:pt x="33" y="8"/>
                        <a:pt x="29" y="14"/>
                        <a:pt x="21" y="15"/>
                      </a:cubicBezTo>
                      <a:cubicBezTo>
                        <a:pt x="19" y="27"/>
                        <a:pt x="24" y="33"/>
                        <a:pt x="9" y="36"/>
                      </a:cubicBezTo>
                      <a:cubicBezTo>
                        <a:pt x="13" y="50"/>
                        <a:pt x="12" y="52"/>
                        <a:pt x="0" y="59"/>
                      </a:cubicBezTo>
                      <a:cubicBezTo>
                        <a:pt x="3" y="64"/>
                        <a:pt x="5" y="69"/>
                        <a:pt x="8" y="74"/>
                      </a:cubicBezTo>
                      <a:cubicBezTo>
                        <a:pt x="15" y="71"/>
                        <a:pt x="16" y="65"/>
                        <a:pt x="20" y="59"/>
                      </a:cubicBezTo>
                      <a:cubicBezTo>
                        <a:pt x="22" y="47"/>
                        <a:pt x="28" y="41"/>
                        <a:pt x="35" y="32"/>
                      </a:cubicBezTo>
                      <a:cubicBezTo>
                        <a:pt x="34" y="26"/>
                        <a:pt x="30" y="8"/>
                        <a:pt x="30" y="0"/>
                      </a:cubicBezTo>
                      <a:close/>
                    </a:path>
                  </a:pathLst>
                </a:custGeom>
                <a:solidFill>
                  <a:srgbClr val="C0C0C0"/>
                </a:solidFill>
                <a:ln w="6350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>
                  <a:outerShdw dist="28398" dir="3806097" algn="ctr" rotWithShape="0">
                    <a:srgbClr val="333333">
                      <a:alpha val="50000"/>
                    </a:srgbClr>
                  </a:outerShdw>
                </a:effectLst>
              </p:spPr>
              <p:txBody>
                <a:bodyPr/>
                <a:lstStyle/>
                <a:p>
                  <a:pPr>
                    <a:defRPr/>
                  </a:pPr>
                  <a:endParaRPr lang="zh-CN" altLang="en-US"/>
                </a:p>
              </p:txBody>
            </p:sp>
            <p:sp>
              <p:nvSpPr>
                <p:cNvPr id="157" name="Freeform 64"/>
                <p:cNvSpPr>
                  <a:spLocks/>
                </p:cNvSpPr>
                <p:nvPr/>
              </p:nvSpPr>
              <p:spPr bwMode="blackWhite">
                <a:xfrm>
                  <a:off x="4114" y="3012"/>
                  <a:ext cx="19" cy="55"/>
                </a:xfrm>
                <a:custGeom>
                  <a:avLst/>
                  <a:gdLst/>
                  <a:ahLst/>
                  <a:cxnLst>
                    <a:cxn ang="0">
                      <a:pos x="13" y="7"/>
                    </a:cxn>
                    <a:cxn ang="0">
                      <a:pos x="4" y="8"/>
                    </a:cxn>
                    <a:cxn ang="0">
                      <a:pos x="0" y="22"/>
                    </a:cxn>
                    <a:cxn ang="0">
                      <a:pos x="15" y="41"/>
                    </a:cxn>
                    <a:cxn ang="0">
                      <a:pos x="25" y="56"/>
                    </a:cxn>
                    <a:cxn ang="0">
                      <a:pos x="16" y="20"/>
                    </a:cxn>
                    <a:cxn ang="0">
                      <a:pos x="13" y="7"/>
                    </a:cxn>
                  </a:cxnLst>
                  <a:rect l="0" t="0" r="r" b="b"/>
                  <a:pathLst>
                    <a:path w="25" h="73">
                      <a:moveTo>
                        <a:pt x="13" y="7"/>
                      </a:moveTo>
                      <a:cubicBezTo>
                        <a:pt x="9" y="0"/>
                        <a:pt x="7" y="2"/>
                        <a:pt x="4" y="8"/>
                      </a:cubicBezTo>
                      <a:cubicBezTo>
                        <a:pt x="3" y="13"/>
                        <a:pt x="1" y="17"/>
                        <a:pt x="0" y="22"/>
                      </a:cubicBezTo>
                      <a:cubicBezTo>
                        <a:pt x="1" y="35"/>
                        <a:pt x="6" y="33"/>
                        <a:pt x="15" y="41"/>
                      </a:cubicBezTo>
                      <a:cubicBezTo>
                        <a:pt x="16" y="52"/>
                        <a:pt x="15" y="73"/>
                        <a:pt x="25" y="56"/>
                      </a:cubicBezTo>
                      <a:cubicBezTo>
                        <a:pt x="24" y="33"/>
                        <a:pt x="23" y="36"/>
                        <a:pt x="16" y="20"/>
                      </a:cubicBezTo>
                      <a:cubicBezTo>
                        <a:pt x="15" y="11"/>
                        <a:pt x="16" y="15"/>
                        <a:pt x="13" y="7"/>
                      </a:cubicBezTo>
                      <a:close/>
                    </a:path>
                  </a:pathLst>
                </a:custGeom>
                <a:solidFill>
                  <a:srgbClr val="C0C0C0"/>
                </a:solidFill>
                <a:ln w="6350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>
                  <a:outerShdw dist="28398" dir="3806097" algn="ctr" rotWithShape="0">
                    <a:srgbClr val="333333">
                      <a:alpha val="50000"/>
                    </a:srgbClr>
                  </a:outerShdw>
                </a:effectLst>
              </p:spPr>
              <p:txBody>
                <a:bodyPr/>
                <a:lstStyle/>
                <a:p>
                  <a:pPr>
                    <a:defRPr/>
                  </a:pPr>
                  <a:endParaRPr lang="zh-CN" altLang="en-US"/>
                </a:p>
              </p:txBody>
            </p:sp>
            <p:sp>
              <p:nvSpPr>
                <p:cNvPr id="158" name="Freeform 65"/>
                <p:cNvSpPr>
                  <a:spLocks/>
                </p:cNvSpPr>
                <p:nvPr/>
              </p:nvSpPr>
              <p:spPr bwMode="blackWhite">
                <a:xfrm>
                  <a:off x="4135" y="2995"/>
                  <a:ext cx="10" cy="25"/>
                </a:xfrm>
                <a:custGeom>
                  <a:avLst/>
                  <a:gdLst/>
                  <a:ahLst/>
                  <a:cxnLst>
                    <a:cxn ang="0">
                      <a:pos x="11" y="0"/>
                    </a:cxn>
                    <a:cxn ang="0">
                      <a:pos x="1" y="10"/>
                    </a:cxn>
                    <a:cxn ang="0">
                      <a:pos x="11" y="25"/>
                    </a:cxn>
                    <a:cxn ang="0">
                      <a:pos x="11" y="0"/>
                    </a:cxn>
                  </a:cxnLst>
                  <a:rect l="0" t="0" r="r" b="b"/>
                  <a:pathLst>
                    <a:path w="14" h="33">
                      <a:moveTo>
                        <a:pt x="11" y="0"/>
                      </a:moveTo>
                      <a:cubicBezTo>
                        <a:pt x="7" y="3"/>
                        <a:pt x="5" y="7"/>
                        <a:pt x="1" y="10"/>
                      </a:cubicBezTo>
                      <a:cubicBezTo>
                        <a:pt x="2" y="18"/>
                        <a:pt x="0" y="33"/>
                        <a:pt x="11" y="25"/>
                      </a:cubicBezTo>
                      <a:cubicBezTo>
                        <a:pt x="14" y="15"/>
                        <a:pt x="5" y="4"/>
                        <a:pt x="11" y="0"/>
                      </a:cubicBezTo>
                      <a:close/>
                    </a:path>
                  </a:pathLst>
                </a:custGeom>
                <a:solidFill>
                  <a:srgbClr val="C0C0C0"/>
                </a:solidFill>
                <a:ln w="6350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>
                  <a:outerShdw dist="28398" dir="3806097" algn="ctr" rotWithShape="0">
                    <a:srgbClr val="333333">
                      <a:alpha val="50000"/>
                    </a:srgbClr>
                  </a:outerShdw>
                </a:effectLst>
              </p:spPr>
              <p:txBody>
                <a:bodyPr/>
                <a:lstStyle/>
                <a:p>
                  <a:pPr>
                    <a:defRPr/>
                  </a:pPr>
                  <a:endParaRPr lang="zh-CN" altLang="en-US"/>
                </a:p>
              </p:txBody>
            </p:sp>
            <p:sp>
              <p:nvSpPr>
                <p:cNvPr id="159" name="Freeform 66"/>
                <p:cNvSpPr>
                  <a:spLocks/>
                </p:cNvSpPr>
                <p:nvPr/>
              </p:nvSpPr>
              <p:spPr bwMode="blackWhite">
                <a:xfrm>
                  <a:off x="4145" y="3007"/>
                  <a:ext cx="21" cy="48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11" y="14"/>
                    </a:cxn>
                    <a:cxn ang="0">
                      <a:pos x="20" y="21"/>
                    </a:cxn>
                    <a:cxn ang="0">
                      <a:pos x="8" y="39"/>
                    </a:cxn>
                    <a:cxn ang="0">
                      <a:pos x="0" y="56"/>
                    </a:cxn>
                    <a:cxn ang="0">
                      <a:pos x="11" y="57"/>
                    </a:cxn>
                    <a:cxn ang="0">
                      <a:pos x="26" y="26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28" h="64">
                      <a:moveTo>
                        <a:pt x="5" y="0"/>
                      </a:moveTo>
                      <a:cubicBezTo>
                        <a:pt x="6" y="5"/>
                        <a:pt x="7" y="10"/>
                        <a:pt x="11" y="14"/>
                      </a:cubicBezTo>
                      <a:cubicBezTo>
                        <a:pt x="14" y="17"/>
                        <a:pt x="20" y="21"/>
                        <a:pt x="20" y="21"/>
                      </a:cubicBezTo>
                      <a:cubicBezTo>
                        <a:pt x="9" y="27"/>
                        <a:pt x="0" y="23"/>
                        <a:pt x="8" y="39"/>
                      </a:cubicBezTo>
                      <a:cubicBezTo>
                        <a:pt x="6" y="47"/>
                        <a:pt x="4" y="50"/>
                        <a:pt x="0" y="56"/>
                      </a:cubicBezTo>
                      <a:cubicBezTo>
                        <a:pt x="4" y="62"/>
                        <a:pt x="7" y="64"/>
                        <a:pt x="11" y="57"/>
                      </a:cubicBezTo>
                      <a:cubicBezTo>
                        <a:pt x="13" y="43"/>
                        <a:pt x="10" y="29"/>
                        <a:pt x="26" y="26"/>
                      </a:cubicBezTo>
                      <a:cubicBezTo>
                        <a:pt x="28" y="15"/>
                        <a:pt x="14" y="4"/>
                        <a:pt x="5" y="0"/>
                      </a:cubicBezTo>
                      <a:close/>
                    </a:path>
                  </a:pathLst>
                </a:custGeom>
                <a:solidFill>
                  <a:srgbClr val="C0C0C0"/>
                </a:solidFill>
                <a:ln w="6350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>
                  <a:outerShdw dist="28398" dir="3806097" algn="ctr" rotWithShape="0">
                    <a:srgbClr val="333333">
                      <a:alpha val="50000"/>
                    </a:srgbClr>
                  </a:outerShdw>
                </a:effectLst>
              </p:spPr>
              <p:txBody>
                <a:bodyPr/>
                <a:lstStyle/>
                <a:p>
                  <a:pPr>
                    <a:defRPr/>
                  </a:pPr>
                  <a:endParaRPr lang="zh-CN" altLang="en-US"/>
                </a:p>
              </p:txBody>
            </p:sp>
            <p:sp>
              <p:nvSpPr>
                <p:cNvPr id="160" name="Freeform 67"/>
                <p:cNvSpPr>
                  <a:spLocks/>
                </p:cNvSpPr>
                <p:nvPr/>
              </p:nvSpPr>
              <p:spPr bwMode="blackWhite">
                <a:xfrm>
                  <a:off x="3877" y="3076"/>
                  <a:ext cx="11" cy="27"/>
                </a:xfrm>
                <a:custGeom>
                  <a:avLst/>
                  <a:gdLst/>
                  <a:ahLst/>
                  <a:cxnLst>
                    <a:cxn ang="0">
                      <a:pos x="14" y="3"/>
                    </a:cxn>
                    <a:cxn ang="0">
                      <a:pos x="0" y="7"/>
                    </a:cxn>
                    <a:cxn ang="0">
                      <a:pos x="8" y="22"/>
                    </a:cxn>
                    <a:cxn ang="0">
                      <a:pos x="14" y="3"/>
                    </a:cxn>
                  </a:cxnLst>
                  <a:rect l="0" t="0" r="r" b="b"/>
                  <a:pathLst>
                    <a:path w="16" h="36">
                      <a:moveTo>
                        <a:pt x="14" y="3"/>
                      </a:moveTo>
                      <a:cubicBezTo>
                        <a:pt x="7" y="0"/>
                        <a:pt x="4" y="1"/>
                        <a:pt x="0" y="7"/>
                      </a:cubicBezTo>
                      <a:cubicBezTo>
                        <a:pt x="3" y="14"/>
                        <a:pt x="2" y="17"/>
                        <a:pt x="8" y="22"/>
                      </a:cubicBezTo>
                      <a:cubicBezTo>
                        <a:pt x="16" y="36"/>
                        <a:pt x="11" y="7"/>
                        <a:pt x="14" y="3"/>
                      </a:cubicBezTo>
                      <a:close/>
                    </a:path>
                  </a:pathLst>
                </a:custGeom>
                <a:solidFill>
                  <a:srgbClr val="C0C0C0"/>
                </a:solidFill>
                <a:ln w="6350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>
                  <a:outerShdw dist="28398" dir="3806097" algn="ctr" rotWithShape="0">
                    <a:srgbClr val="333333">
                      <a:alpha val="50000"/>
                    </a:srgbClr>
                  </a:outerShdw>
                </a:effectLst>
              </p:spPr>
              <p:txBody>
                <a:bodyPr/>
                <a:lstStyle/>
                <a:p>
                  <a:pPr>
                    <a:defRPr/>
                  </a:pPr>
                  <a:endParaRPr lang="zh-CN" altLang="en-US"/>
                </a:p>
              </p:txBody>
            </p:sp>
            <p:sp>
              <p:nvSpPr>
                <p:cNvPr id="161" name="Freeform 68"/>
                <p:cNvSpPr>
                  <a:spLocks/>
                </p:cNvSpPr>
                <p:nvPr/>
              </p:nvSpPr>
              <p:spPr bwMode="blackWhite">
                <a:xfrm>
                  <a:off x="3866" y="3053"/>
                  <a:ext cx="10" cy="15"/>
                </a:xfrm>
                <a:custGeom>
                  <a:avLst/>
                  <a:gdLst/>
                  <a:ahLst/>
                  <a:cxnLst>
                    <a:cxn ang="0">
                      <a:pos x="10" y="5"/>
                    </a:cxn>
                    <a:cxn ang="0">
                      <a:pos x="1" y="11"/>
                    </a:cxn>
                    <a:cxn ang="0">
                      <a:pos x="9" y="20"/>
                    </a:cxn>
                    <a:cxn ang="0">
                      <a:pos x="10" y="5"/>
                    </a:cxn>
                  </a:cxnLst>
                  <a:rect l="0" t="0" r="r" b="b"/>
                  <a:pathLst>
                    <a:path w="13" h="20">
                      <a:moveTo>
                        <a:pt x="10" y="5"/>
                      </a:moveTo>
                      <a:cubicBezTo>
                        <a:pt x="3" y="0"/>
                        <a:pt x="5" y="6"/>
                        <a:pt x="1" y="11"/>
                      </a:cubicBezTo>
                      <a:cubicBezTo>
                        <a:pt x="0" y="18"/>
                        <a:pt x="2" y="19"/>
                        <a:pt x="9" y="20"/>
                      </a:cubicBezTo>
                      <a:cubicBezTo>
                        <a:pt x="13" y="14"/>
                        <a:pt x="10" y="12"/>
                        <a:pt x="10" y="5"/>
                      </a:cubicBezTo>
                      <a:close/>
                    </a:path>
                  </a:pathLst>
                </a:custGeom>
                <a:solidFill>
                  <a:srgbClr val="C0C0C0"/>
                </a:solidFill>
                <a:ln w="6350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>
                  <a:outerShdw dist="28398" dir="3806097" algn="ctr" rotWithShape="0">
                    <a:srgbClr val="333333">
                      <a:alpha val="50000"/>
                    </a:srgbClr>
                  </a:outerShdw>
                </a:effectLst>
              </p:spPr>
              <p:txBody>
                <a:bodyPr/>
                <a:lstStyle/>
                <a:p>
                  <a:pPr>
                    <a:defRPr/>
                  </a:pPr>
                  <a:endParaRPr lang="zh-CN" altLang="en-US"/>
                </a:p>
              </p:txBody>
            </p:sp>
            <p:sp>
              <p:nvSpPr>
                <p:cNvPr id="162" name="Freeform 69"/>
                <p:cNvSpPr>
                  <a:spLocks/>
                </p:cNvSpPr>
                <p:nvPr/>
              </p:nvSpPr>
              <p:spPr bwMode="blackWhite">
                <a:xfrm>
                  <a:off x="3862" y="3034"/>
                  <a:ext cx="12" cy="15"/>
                </a:xfrm>
                <a:custGeom>
                  <a:avLst/>
                  <a:gdLst/>
                  <a:ahLst/>
                  <a:cxnLst>
                    <a:cxn ang="0">
                      <a:pos x="10" y="5"/>
                    </a:cxn>
                    <a:cxn ang="0">
                      <a:pos x="0" y="10"/>
                    </a:cxn>
                    <a:cxn ang="0">
                      <a:pos x="12" y="19"/>
                    </a:cxn>
                    <a:cxn ang="0">
                      <a:pos x="10" y="5"/>
                    </a:cxn>
                  </a:cxnLst>
                  <a:rect l="0" t="0" r="r" b="b"/>
                  <a:pathLst>
                    <a:path w="16" h="19">
                      <a:moveTo>
                        <a:pt x="10" y="5"/>
                      </a:moveTo>
                      <a:cubicBezTo>
                        <a:pt x="4" y="0"/>
                        <a:pt x="1" y="3"/>
                        <a:pt x="0" y="10"/>
                      </a:cubicBezTo>
                      <a:cubicBezTo>
                        <a:pt x="4" y="15"/>
                        <a:pt x="7" y="16"/>
                        <a:pt x="12" y="19"/>
                      </a:cubicBezTo>
                      <a:cubicBezTo>
                        <a:pt x="16" y="12"/>
                        <a:pt x="14" y="12"/>
                        <a:pt x="10" y="5"/>
                      </a:cubicBezTo>
                      <a:close/>
                    </a:path>
                  </a:pathLst>
                </a:custGeom>
                <a:solidFill>
                  <a:srgbClr val="C0C0C0"/>
                </a:solidFill>
                <a:ln w="6350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>
                  <a:outerShdw dist="28398" dir="3806097" algn="ctr" rotWithShape="0">
                    <a:srgbClr val="333333">
                      <a:alpha val="50000"/>
                    </a:srgbClr>
                  </a:outerShdw>
                </a:effectLst>
              </p:spPr>
              <p:txBody>
                <a:bodyPr/>
                <a:lstStyle/>
                <a:p>
                  <a:pPr>
                    <a:defRPr/>
                  </a:pPr>
                  <a:endParaRPr lang="zh-CN" altLang="en-US"/>
                </a:p>
              </p:txBody>
            </p:sp>
            <p:sp>
              <p:nvSpPr>
                <p:cNvPr id="163" name="Freeform 70"/>
                <p:cNvSpPr>
                  <a:spLocks/>
                </p:cNvSpPr>
                <p:nvPr/>
              </p:nvSpPr>
              <p:spPr bwMode="blackWhite">
                <a:xfrm>
                  <a:off x="3850" y="2995"/>
                  <a:ext cx="11" cy="19"/>
                </a:xfrm>
                <a:custGeom>
                  <a:avLst/>
                  <a:gdLst/>
                  <a:ahLst/>
                  <a:cxnLst>
                    <a:cxn ang="0">
                      <a:pos x="6" y="0"/>
                    </a:cxn>
                    <a:cxn ang="0">
                      <a:pos x="0" y="13"/>
                    </a:cxn>
                    <a:cxn ang="0">
                      <a:pos x="12" y="24"/>
                    </a:cxn>
                    <a:cxn ang="0">
                      <a:pos x="6" y="0"/>
                    </a:cxn>
                  </a:cxnLst>
                  <a:rect l="0" t="0" r="r" b="b"/>
                  <a:pathLst>
                    <a:path w="14" h="25">
                      <a:moveTo>
                        <a:pt x="6" y="0"/>
                      </a:moveTo>
                      <a:cubicBezTo>
                        <a:pt x="4" y="5"/>
                        <a:pt x="3" y="9"/>
                        <a:pt x="0" y="13"/>
                      </a:cubicBezTo>
                      <a:cubicBezTo>
                        <a:pt x="1" y="24"/>
                        <a:pt x="1" y="25"/>
                        <a:pt x="12" y="24"/>
                      </a:cubicBezTo>
                      <a:cubicBezTo>
                        <a:pt x="14" y="12"/>
                        <a:pt x="8" y="10"/>
                        <a:pt x="6" y="0"/>
                      </a:cubicBezTo>
                      <a:close/>
                    </a:path>
                  </a:pathLst>
                </a:custGeom>
                <a:solidFill>
                  <a:srgbClr val="C0C0C0"/>
                </a:solidFill>
                <a:ln w="6350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>
                  <a:outerShdw dist="28398" dir="3806097" algn="ctr" rotWithShape="0">
                    <a:srgbClr val="333333">
                      <a:alpha val="50000"/>
                    </a:srgbClr>
                  </a:outerShdw>
                </a:effectLst>
              </p:spPr>
              <p:txBody>
                <a:bodyPr/>
                <a:lstStyle/>
                <a:p>
                  <a:pPr>
                    <a:defRPr/>
                  </a:pPr>
                  <a:endParaRPr lang="zh-CN" altLang="en-US"/>
                </a:p>
              </p:txBody>
            </p:sp>
            <p:sp>
              <p:nvSpPr>
                <p:cNvPr id="165" name="Freeform 71"/>
                <p:cNvSpPr>
                  <a:spLocks/>
                </p:cNvSpPr>
                <p:nvPr/>
              </p:nvSpPr>
              <p:spPr bwMode="blackWhite">
                <a:xfrm>
                  <a:off x="3852" y="3020"/>
                  <a:ext cx="16" cy="13"/>
                </a:xfrm>
                <a:custGeom>
                  <a:avLst/>
                  <a:gdLst/>
                  <a:ahLst/>
                  <a:cxnLst>
                    <a:cxn ang="0">
                      <a:pos x="13" y="0"/>
                    </a:cxn>
                    <a:cxn ang="0">
                      <a:pos x="19" y="18"/>
                    </a:cxn>
                    <a:cxn ang="0">
                      <a:pos x="14" y="6"/>
                    </a:cxn>
                    <a:cxn ang="0">
                      <a:pos x="13" y="0"/>
                    </a:cxn>
                  </a:cxnLst>
                  <a:rect l="0" t="0" r="r" b="b"/>
                  <a:pathLst>
                    <a:path w="22" h="18">
                      <a:moveTo>
                        <a:pt x="13" y="0"/>
                      </a:moveTo>
                      <a:cubicBezTo>
                        <a:pt x="0" y="8"/>
                        <a:pt x="9" y="12"/>
                        <a:pt x="19" y="18"/>
                      </a:cubicBezTo>
                      <a:cubicBezTo>
                        <a:pt x="20" y="11"/>
                        <a:pt x="22" y="8"/>
                        <a:pt x="14" y="6"/>
                      </a:cubicBezTo>
                      <a:cubicBezTo>
                        <a:pt x="9" y="3"/>
                        <a:pt x="9" y="5"/>
                        <a:pt x="13" y="0"/>
                      </a:cubicBezTo>
                      <a:close/>
                    </a:path>
                  </a:pathLst>
                </a:custGeom>
                <a:solidFill>
                  <a:srgbClr val="C0C0C0"/>
                </a:solidFill>
                <a:ln w="6350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>
                  <a:outerShdw dist="28398" dir="3806097" algn="ctr" rotWithShape="0">
                    <a:srgbClr val="333333">
                      <a:alpha val="50000"/>
                    </a:srgbClr>
                  </a:outerShdw>
                </a:effectLst>
              </p:spPr>
              <p:txBody>
                <a:bodyPr/>
                <a:lstStyle/>
                <a:p>
                  <a:pPr>
                    <a:defRPr/>
                  </a:pPr>
                  <a:endParaRPr lang="zh-CN" altLang="en-US"/>
                </a:p>
              </p:txBody>
            </p:sp>
            <p:sp>
              <p:nvSpPr>
                <p:cNvPr id="166" name="Freeform 72"/>
                <p:cNvSpPr>
                  <a:spLocks/>
                </p:cNvSpPr>
                <p:nvPr/>
              </p:nvSpPr>
              <p:spPr bwMode="blackWhite">
                <a:xfrm>
                  <a:off x="4688" y="3643"/>
                  <a:ext cx="45" cy="60"/>
                </a:xfrm>
                <a:custGeom>
                  <a:avLst/>
                  <a:gdLst/>
                  <a:ahLst/>
                  <a:cxnLst>
                    <a:cxn ang="0">
                      <a:pos x="10" y="7"/>
                    </a:cxn>
                    <a:cxn ang="0">
                      <a:pos x="3" y="18"/>
                    </a:cxn>
                    <a:cxn ang="0">
                      <a:pos x="15" y="39"/>
                    </a:cxn>
                    <a:cxn ang="0">
                      <a:pos x="27" y="54"/>
                    </a:cxn>
                    <a:cxn ang="0">
                      <a:pos x="40" y="63"/>
                    </a:cxn>
                    <a:cxn ang="0">
                      <a:pos x="51" y="81"/>
                    </a:cxn>
                    <a:cxn ang="0">
                      <a:pos x="52" y="57"/>
                    </a:cxn>
                    <a:cxn ang="0">
                      <a:pos x="43" y="37"/>
                    </a:cxn>
                    <a:cxn ang="0">
                      <a:pos x="25" y="18"/>
                    </a:cxn>
                    <a:cxn ang="0">
                      <a:pos x="10" y="7"/>
                    </a:cxn>
                  </a:cxnLst>
                  <a:rect l="0" t="0" r="r" b="b"/>
                  <a:pathLst>
                    <a:path w="60" h="81">
                      <a:moveTo>
                        <a:pt x="10" y="7"/>
                      </a:moveTo>
                      <a:cubicBezTo>
                        <a:pt x="0" y="0"/>
                        <a:pt x="0" y="9"/>
                        <a:pt x="3" y="18"/>
                      </a:cubicBezTo>
                      <a:cubicBezTo>
                        <a:pt x="5" y="25"/>
                        <a:pt x="12" y="32"/>
                        <a:pt x="15" y="39"/>
                      </a:cubicBezTo>
                      <a:cubicBezTo>
                        <a:pt x="16" y="51"/>
                        <a:pt x="17" y="51"/>
                        <a:pt x="27" y="54"/>
                      </a:cubicBezTo>
                      <a:cubicBezTo>
                        <a:pt x="31" y="57"/>
                        <a:pt x="36" y="60"/>
                        <a:pt x="40" y="63"/>
                      </a:cubicBezTo>
                      <a:cubicBezTo>
                        <a:pt x="43" y="70"/>
                        <a:pt x="45" y="77"/>
                        <a:pt x="51" y="81"/>
                      </a:cubicBezTo>
                      <a:cubicBezTo>
                        <a:pt x="60" y="75"/>
                        <a:pt x="56" y="66"/>
                        <a:pt x="52" y="57"/>
                      </a:cubicBezTo>
                      <a:cubicBezTo>
                        <a:pt x="51" y="49"/>
                        <a:pt x="50" y="41"/>
                        <a:pt x="43" y="37"/>
                      </a:cubicBezTo>
                      <a:cubicBezTo>
                        <a:pt x="37" y="30"/>
                        <a:pt x="33" y="23"/>
                        <a:pt x="25" y="18"/>
                      </a:cubicBezTo>
                      <a:cubicBezTo>
                        <a:pt x="20" y="12"/>
                        <a:pt x="17" y="9"/>
                        <a:pt x="10" y="7"/>
                      </a:cubicBezTo>
                      <a:close/>
                    </a:path>
                  </a:pathLst>
                </a:custGeom>
                <a:solidFill>
                  <a:srgbClr val="C0C0C0"/>
                </a:solidFill>
                <a:ln w="6350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>
                  <a:outerShdw dist="28398" dir="3806097" algn="ctr" rotWithShape="0">
                    <a:srgbClr val="333333">
                      <a:alpha val="50000"/>
                    </a:srgbClr>
                  </a:outerShdw>
                </a:effectLst>
              </p:spPr>
              <p:txBody>
                <a:bodyPr/>
                <a:lstStyle/>
                <a:p>
                  <a:pPr>
                    <a:defRPr/>
                  </a:pPr>
                  <a:endParaRPr lang="zh-CN" altLang="en-US"/>
                </a:p>
              </p:txBody>
            </p:sp>
            <p:sp>
              <p:nvSpPr>
                <p:cNvPr id="167" name="Freeform 73"/>
                <p:cNvSpPr>
                  <a:spLocks/>
                </p:cNvSpPr>
                <p:nvPr/>
              </p:nvSpPr>
              <p:spPr bwMode="blackWhite">
                <a:xfrm>
                  <a:off x="4919" y="3594"/>
                  <a:ext cx="53" cy="47"/>
                </a:xfrm>
                <a:custGeom>
                  <a:avLst/>
                  <a:gdLst/>
                  <a:ahLst/>
                  <a:cxnLst>
                    <a:cxn ang="0">
                      <a:pos x="28" y="23"/>
                    </a:cxn>
                    <a:cxn ang="0">
                      <a:pos x="13" y="32"/>
                    </a:cxn>
                    <a:cxn ang="0">
                      <a:pos x="1" y="44"/>
                    </a:cxn>
                    <a:cxn ang="0">
                      <a:pos x="13" y="59"/>
                    </a:cxn>
                    <a:cxn ang="0">
                      <a:pos x="28" y="44"/>
                    </a:cxn>
                    <a:cxn ang="0">
                      <a:pos x="40" y="23"/>
                    </a:cxn>
                    <a:cxn ang="0">
                      <a:pos x="55" y="0"/>
                    </a:cxn>
                    <a:cxn ang="0">
                      <a:pos x="71" y="11"/>
                    </a:cxn>
                    <a:cxn ang="0">
                      <a:pos x="35" y="23"/>
                    </a:cxn>
                    <a:cxn ang="0">
                      <a:pos x="28" y="23"/>
                    </a:cxn>
                  </a:cxnLst>
                  <a:rect l="0" t="0" r="r" b="b"/>
                  <a:pathLst>
                    <a:path w="71" h="61">
                      <a:moveTo>
                        <a:pt x="28" y="23"/>
                      </a:moveTo>
                      <a:cubicBezTo>
                        <a:pt x="25" y="33"/>
                        <a:pt x="25" y="33"/>
                        <a:pt x="13" y="32"/>
                      </a:cubicBezTo>
                      <a:cubicBezTo>
                        <a:pt x="2" y="33"/>
                        <a:pt x="3" y="34"/>
                        <a:pt x="1" y="44"/>
                      </a:cubicBezTo>
                      <a:cubicBezTo>
                        <a:pt x="2" y="60"/>
                        <a:pt x="0" y="61"/>
                        <a:pt x="13" y="59"/>
                      </a:cubicBezTo>
                      <a:cubicBezTo>
                        <a:pt x="19" y="54"/>
                        <a:pt x="21" y="48"/>
                        <a:pt x="28" y="44"/>
                      </a:cubicBezTo>
                      <a:cubicBezTo>
                        <a:pt x="30" y="33"/>
                        <a:pt x="28" y="25"/>
                        <a:pt x="40" y="23"/>
                      </a:cubicBezTo>
                      <a:cubicBezTo>
                        <a:pt x="42" y="12"/>
                        <a:pt x="44" y="4"/>
                        <a:pt x="55" y="0"/>
                      </a:cubicBezTo>
                      <a:cubicBezTo>
                        <a:pt x="65" y="2"/>
                        <a:pt x="69" y="1"/>
                        <a:pt x="71" y="11"/>
                      </a:cubicBezTo>
                      <a:cubicBezTo>
                        <a:pt x="63" y="22"/>
                        <a:pt x="48" y="21"/>
                        <a:pt x="35" y="23"/>
                      </a:cubicBezTo>
                      <a:cubicBezTo>
                        <a:pt x="30" y="27"/>
                        <a:pt x="32" y="27"/>
                        <a:pt x="28" y="23"/>
                      </a:cubicBezTo>
                      <a:close/>
                    </a:path>
                  </a:pathLst>
                </a:custGeom>
                <a:solidFill>
                  <a:srgbClr val="C0C0C0"/>
                </a:solidFill>
                <a:ln w="6350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>
                  <a:outerShdw dist="28398" dir="3806097" algn="ctr" rotWithShape="0">
                    <a:srgbClr val="333333">
                      <a:alpha val="50000"/>
                    </a:srgbClr>
                  </a:outerShdw>
                </a:effectLst>
              </p:spPr>
              <p:txBody>
                <a:bodyPr/>
                <a:lstStyle/>
                <a:p>
                  <a:pPr>
                    <a:defRPr/>
                  </a:pPr>
                  <a:endParaRPr lang="zh-CN" altLang="en-US"/>
                </a:p>
              </p:txBody>
            </p:sp>
            <p:sp>
              <p:nvSpPr>
                <p:cNvPr id="168" name="Freeform 74"/>
                <p:cNvSpPr>
                  <a:spLocks/>
                </p:cNvSpPr>
                <p:nvPr/>
              </p:nvSpPr>
              <p:spPr bwMode="blackWhite">
                <a:xfrm>
                  <a:off x="4759" y="3569"/>
                  <a:ext cx="19" cy="23"/>
                </a:xfrm>
                <a:custGeom>
                  <a:avLst/>
                  <a:gdLst/>
                  <a:ahLst/>
                  <a:cxnLst>
                    <a:cxn ang="0">
                      <a:pos x="9" y="0"/>
                    </a:cxn>
                    <a:cxn ang="0">
                      <a:pos x="0" y="14"/>
                    </a:cxn>
                    <a:cxn ang="0">
                      <a:pos x="12" y="30"/>
                    </a:cxn>
                    <a:cxn ang="0">
                      <a:pos x="9" y="0"/>
                    </a:cxn>
                  </a:cxnLst>
                  <a:rect l="0" t="0" r="r" b="b"/>
                  <a:pathLst>
                    <a:path w="23" h="30">
                      <a:moveTo>
                        <a:pt x="9" y="0"/>
                      </a:moveTo>
                      <a:cubicBezTo>
                        <a:pt x="8" y="7"/>
                        <a:pt x="3" y="8"/>
                        <a:pt x="0" y="14"/>
                      </a:cubicBezTo>
                      <a:cubicBezTo>
                        <a:pt x="3" y="21"/>
                        <a:pt x="8" y="24"/>
                        <a:pt x="12" y="30"/>
                      </a:cubicBezTo>
                      <a:cubicBezTo>
                        <a:pt x="23" y="15"/>
                        <a:pt x="4" y="9"/>
                        <a:pt x="9" y="0"/>
                      </a:cubicBezTo>
                      <a:close/>
                    </a:path>
                  </a:pathLst>
                </a:custGeom>
                <a:solidFill>
                  <a:srgbClr val="C0C0C0"/>
                </a:solidFill>
                <a:ln w="6350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>
                  <a:outerShdw dist="28398" dir="3806097" algn="ctr" rotWithShape="0">
                    <a:srgbClr val="333333">
                      <a:alpha val="50000"/>
                    </a:srgbClr>
                  </a:outerShdw>
                </a:effectLst>
              </p:spPr>
              <p:txBody>
                <a:bodyPr/>
                <a:lstStyle/>
                <a:p>
                  <a:pPr>
                    <a:defRPr/>
                  </a:pPr>
                  <a:endParaRPr lang="zh-CN" altLang="en-US"/>
                </a:p>
              </p:txBody>
            </p:sp>
            <p:sp>
              <p:nvSpPr>
                <p:cNvPr id="169" name="Freeform 75"/>
                <p:cNvSpPr>
                  <a:spLocks/>
                </p:cNvSpPr>
                <p:nvPr/>
              </p:nvSpPr>
              <p:spPr bwMode="blackWhite">
                <a:xfrm>
                  <a:off x="4751" y="3547"/>
                  <a:ext cx="20" cy="18"/>
                </a:xfrm>
                <a:custGeom>
                  <a:avLst/>
                  <a:gdLst/>
                  <a:ahLst/>
                  <a:cxnLst>
                    <a:cxn ang="0">
                      <a:pos x="19" y="0"/>
                    </a:cxn>
                    <a:cxn ang="0">
                      <a:pos x="0" y="14"/>
                    </a:cxn>
                    <a:cxn ang="0">
                      <a:pos x="21" y="20"/>
                    </a:cxn>
                    <a:cxn ang="0">
                      <a:pos x="19" y="0"/>
                    </a:cxn>
                  </a:cxnLst>
                  <a:rect l="0" t="0" r="r" b="b"/>
                  <a:pathLst>
                    <a:path w="26" h="23">
                      <a:moveTo>
                        <a:pt x="19" y="0"/>
                      </a:moveTo>
                      <a:cubicBezTo>
                        <a:pt x="17" y="12"/>
                        <a:pt x="10" y="11"/>
                        <a:pt x="0" y="14"/>
                      </a:cubicBezTo>
                      <a:cubicBezTo>
                        <a:pt x="5" y="23"/>
                        <a:pt x="11" y="22"/>
                        <a:pt x="21" y="20"/>
                      </a:cubicBezTo>
                      <a:cubicBezTo>
                        <a:pt x="26" y="12"/>
                        <a:pt x="23" y="7"/>
                        <a:pt x="19" y="0"/>
                      </a:cubicBezTo>
                      <a:close/>
                    </a:path>
                  </a:pathLst>
                </a:custGeom>
                <a:solidFill>
                  <a:srgbClr val="C0C0C0"/>
                </a:solidFill>
                <a:ln w="6350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>
                  <a:outerShdw dist="28398" dir="3806097" algn="ctr" rotWithShape="0">
                    <a:srgbClr val="333333">
                      <a:alpha val="50000"/>
                    </a:srgbClr>
                  </a:outerShdw>
                </a:effectLst>
              </p:spPr>
              <p:txBody>
                <a:bodyPr/>
                <a:lstStyle/>
                <a:p>
                  <a:pPr>
                    <a:defRPr/>
                  </a:pPr>
                  <a:endParaRPr lang="zh-CN" altLang="en-US"/>
                </a:p>
              </p:txBody>
            </p:sp>
            <p:sp>
              <p:nvSpPr>
                <p:cNvPr id="170" name="Freeform 76"/>
                <p:cNvSpPr>
                  <a:spLocks/>
                </p:cNvSpPr>
                <p:nvPr/>
              </p:nvSpPr>
              <p:spPr bwMode="blackWhite">
                <a:xfrm>
                  <a:off x="4598" y="3353"/>
                  <a:ext cx="26" cy="31"/>
                </a:xfrm>
                <a:custGeom>
                  <a:avLst/>
                  <a:gdLst/>
                  <a:ahLst/>
                  <a:cxnLst>
                    <a:cxn ang="0">
                      <a:pos x="28" y="0"/>
                    </a:cxn>
                    <a:cxn ang="0">
                      <a:pos x="10" y="11"/>
                    </a:cxn>
                    <a:cxn ang="0">
                      <a:pos x="12" y="32"/>
                    </a:cxn>
                    <a:cxn ang="0">
                      <a:pos x="24" y="36"/>
                    </a:cxn>
                    <a:cxn ang="0">
                      <a:pos x="28" y="0"/>
                    </a:cxn>
                  </a:cxnLst>
                  <a:rect l="0" t="0" r="r" b="b"/>
                  <a:pathLst>
                    <a:path w="32" h="44">
                      <a:moveTo>
                        <a:pt x="28" y="0"/>
                      </a:moveTo>
                      <a:cubicBezTo>
                        <a:pt x="32" y="10"/>
                        <a:pt x="18" y="9"/>
                        <a:pt x="10" y="11"/>
                      </a:cubicBezTo>
                      <a:cubicBezTo>
                        <a:pt x="0" y="18"/>
                        <a:pt x="7" y="24"/>
                        <a:pt x="12" y="32"/>
                      </a:cubicBezTo>
                      <a:cubicBezTo>
                        <a:pt x="14" y="44"/>
                        <a:pt x="15" y="41"/>
                        <a:pt x="24" y="36"/>
                      </a:cubicBezTo>
                      <a:cubicBezTo>
                        <a:pt x="32" y="25"/>
                        <a:pt x="29" y="14"/>
                        <a:pt x="28" y="0"/>
                      </a:cubicBezTo>
                      <a:close/>
                    </a:path>
                  </a:pathLst>
                </a:custGeom>
                <a:solidFill>
                  <a:srgbClr val="C0C0C0"/>
                </a:solidFill>
                <a:ln w="6350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>
                  <a:outerShdw dist="28398" dir="3806097" algn="ctr" rotWithShape="0">
                    <a:srgbClr val="333333">
                      <a:alpha val="50000"/>
                    </a:srgbClr>
                  </a:outerShdw>
                </a:effectLst>
              </p:spPr>
              <p:txBody>
                <a:bodyPr/>
                <a:lstStyle/>
                <a:p>
                  <a:pPr>
                    <a:defRPr/>
                  </a:pPr>
                  <a:endParaRPr lang="zh-CN" altLang="en-US"/>
                </a:p>
              </p:txBody>
            </p:sp>
            <p:sp>
              <p:nvSpPr>
                <p:cNvPr id="171" name="Freeform 77"/>
                <p:cNvSpPr>
                  <a:spLocks/>
                </p:cNvSpPr>
                <p:nvPr/>
              </p:nvSpPr>
              <p:spPr bwMode="blackWhite">
                <a:xfrm>
                  <a:off x="4632" y="3396"/>
                  <a:ext cx="26" cy="35"/>
                </a:xfrm>
                <a:custGeom>
                  <a:avLst/>
                  <a:gdLst/>
                  <a:ahLst/>
                  <a:cxnLst>
                    <a:cxn ang="0">
                      <a:pos x="30" y="0"/>
                    </a:cxn>
                    <a:cxn ang="0">
                      <a:pos x="10" y="9"/>
                    </a:cxn>
                    <a:cxn ang="0">
                      <a:pos x="14" y="32"/>
                    </a:cxn>
                    <a:cxn ang="0">
                      <a:pos x="26" y="36"/>
                    </a:cxn>
                    <a:cxn ang="0">
                      <a:pos x="30" y="0"/>
                    </a:cxn>
                  </a:cxnLst>
                  <a:rect l="0" t="0" r="r" b="b"/>
                  <a:pathLst>
                    <a:path w="34" h="44">
                      <a:moveTo>
                        <a:pt x="30" y="0"/>
                      </a:moveTo>
                      <a:cubicBezTo>
                        <a:pt x="34" y="10"/>
                        <a:pt x="18" y="7"/>
                        <a:pt x="10" y="9"/>
                      </a:cubicBezTo>
                      <a:cubicBezTo>
                        <a:pt x="0" y="16"/>
                        <a:pt x="9" y="24"/>
                        <a:pt x="14" y="32"/>
                      </a:cubicBezTo>
                      <a:cubicBezTo>
                        <a:pt x="16" y="44"/>
                        <a:pt x="17" y="41"/>
                        <a:pt x="26" y="36"/>
                      </a:cubicBezTo>
                      <a:cubicBezTo>
                        <a:pt x="34" y="25"/>
                        <a:pt x="31" y="14"/>
                        <a:pt x="30" y="0"/>
                      </a:cubicBezTo>
                      <a:close/>
                    </a:path>
                  </a:pathLst>
                </a:custGeom>
                <a:solidFill>
                  <a:srgbClr val="C0C0C0"/>
                </a:solidFill>
                <a:ln w="6350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>
                  <a:outerShdw dist="28398" dir="3806097" algn="ctr" rotWithShape="0">
                    <a:srgbClr val="333333">
                      <a:alpha val="50000"/>
                    </a:srgbClr>
                  </a:outerShdw>
                </a:effectLst>
              </p:spPr>
              <p:txBody>
                <a:bodyPr/>
                <a:lstStyle/>
                <a:p>
                  <a:pPr>
                    <a:defRPr/>
                  </a:pPr>
                  <a:endParaRPr lang="zh-CN" altLang="en-US"/>
                </a:p>
              </p:txBody>
            </p:sp>
            <p:sp>
              <p:nvSpPr>
                <p:cNvPr id="172" name="Freeform 78"/>
                <p:cNvSpPr>
                  <a:spLocks/>
                </p:cNvSpPr>
                <p:nvPr/>
              </p:nvSpPr>
              <p:spPr bwMode="blackWhite">
                <a:xfrm>
                  <a:off x="4659" y="3459"/>
                  <a:ext cx="28" cy="28"/>
                </a:xfrm>
                <a:custGeom>
                  <a:avLst/>
                  <a:gdLst/>
                  <a:ahLst/>
                  <a:cxnLst>
                    <a:cxn ang="0">
                      <a:pos x="34" y="2"/>
                    </a:cxn>
                    <a:cxn ang="0">
                      <a:pos x="10" y="2"/>
                    </a:cxn>
                    <a:cxn ang="0">
                      <a:pos x="14" y="25"/>
                    </a:cxn>
                    <a:cxn ang="0">
                      <a:pos x="26" y="29"/>
                    </a:cxn>
                    <a:cxn ang="0">
                      <a:pos x="34" y="2"/>
                    </a:cxn>
                  </a:cxnLst>
                  <a:rect l="0" t="0" r="r" b="b"/>
                  <a:pathLst>
                    <a:path w="38" h="37">
                      <a:moveTo>
                        <a:pt x="34" y="2"/>
                      </a:moveTo>
                      <a:cubicBezTo>
                        <a:pt x="38" y="12"/>
                        <a:pt x="18" y="0"/>
                        <a:pt x="10" y="2"/>
                      </a:cubicBezTo>
                      <a:cubicBezTo>
                        <a:pt x="0" y="9"/>
                        <a:pt x="9" y="17"/>
                        <a:pt x="14" y="25"/>
                      </a:cubicBezTo>
                      <a:cubicBezTo>
                        <a:pt x="16" y="37"/>
                        <a:pt x="17" y="34"/>
                        <a:pt x="26" y="29"/>
                      </a:cubicBezTo>
                      <a:cubicBezTo>
                        <a:pt x="34" y="18"/>
                        <a:pt x="35" y="16"/>
                        <a:pt x="34" y="2"/>
                      </a:cubicBezTo>
                      <a:close/>
                    </a:path>
                  </a:pathLst>
                </a:custGeom>
                <a:solidFill>
                  <a:srgbClr val="C0C0C0"/>
                </a:solidFill>
                <a:ln w="6350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>
                  <a:outerShdw dist="28398" dir="3806097" algn="ctr" rotWithShape="0">
                    <a:srgbClr val="333333">
                      <a:alpha val="50000"/>
                    </a:srgbClr>
                  </a:outerShdw>
                </a:effectLst>
              </p:spPr>
              <p:txBody>
                <a:bodyPr/>
                <a:lstStyle/>
                <a:p>
                  <a:pPr>
                    <a:defRPr/>
                  </a:pPr>
                  <a:endParaRPr lang="zh-CN" altLang="en-US"/>
                </a:p>
              </p:txBody>
            </p:sp>
            <p:sp>
              <p:nvSpPr>
                <p:cNvPr id="173" name="Freeform 79"/>
                <p:cNvSpPr>
                  <a:spLocks/>
                </p:cNvSpPr>
                <p:nvPr/>
              </p:nvSpPr>
              <p:spPr bwMode="blackWhite">
                <a:xfrm>
                  <a:off x="4693" y="3449"/>
                  <a:ext cx="28" cy="26"/>
                </a:xfrm>
                <a:custGeom>
                  <a:avLst/>
                  <a:gdLst/>
                  <a:ahLst/>
                  <a:cxnLst>
                    <a:cxn ang="0">
                      <a:pos x="34" y="2"/>
                    </a:cxn>
                    <a:cxn ang="0">
                      <a:pos x="10" y="2"/>
                    </a:cxn>
                    <a:cxn ang="0">
                      <a:pos x="16" y="22"/>
                    </a:cxn>
                    <a:cxn ang="0">
                      <a:pos x="27" y="22"/>
                    </a:cxn>
                    <a:cxn ang="0">
                      <a:pos x="34" y="2"/>
                    </a:cxn>
                  </a:cxnLst>
                  <a:rect l="0" t="0" r="r" b="b"/>
                  <a:pathLst>
                    <a:path w="38" h="34">
                      <a:moveTo>
                        <a:pt x="34" y="2"/>
                      </a:moveTo>
                      <a:cubicBezTo>
                        <a:pt x="38" y="12"/>
                        <a:pt x="18" y="0"/>
                        <a:pt x="10" y="2"/>
                      </a:cubicBezTo>
                      <a:cubicBezTo>
                        <a:pt x="0" y="9"/>
                        <a:pt x="11" y="14"/>
                        <a:pt x="16" y="22"/>
                      </a:cubicBezTo>
                      <a:cubicBezTo>
                        <a:pt x="18" y="34"/>
                        <a:pt x="18" y="27"/>
                        <a:pt x="27" y="22"/>
                      </a:cubicBezTo>
                      <a:cubicBezTo>
                        <a:pt x="35" y="11"/>
                        <a:pt x="35" y="16"/>
                        <a:pt x="34" y="2"/>
                      </a:cubicBezTo>
                      <a:close/>
                    </a:path>
                  </a:pathLst>
                </a:custGeom>
                <a:solidFill>
                  <a:srgbClr val="C0C0C0"/>
                </a:solidFill>
                <a:ln w="6350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>
                  <a:outerShdw dist="28398" dir="3806097" algn="ctr" rotWithShape="0">
                    <a:srgbClr val="333333">
                      <a:alpha val="50000"/>
                    </a:srgbClr>
                  </a:outerShdw>
                </a:effectLst>
              </p:spPr>
              <p:txBody>
                <a:bodyPr/>
                <a:lstStyle/>
                <a:p>
                  <a:pPr>
                    <a:defRPr/>
                  </a:pPr>
                  <a:endParaRPr lang="zh-CN" altLang="en-US"/>
                </a:p>
              </p:txBody>
            </p:sp>
            <p:sp>
              <p:nvSpPr>
                <p:cNvPr id="174" name="Freeform 80"/>
                <p:cNvSpPr>
                  <a:spLocks/>
                </p:cNvSpPr>
                <p:nvPr/>
              </p:nvSpPr>
              <p:spPr bwMode="blackWhite">
                <a:xfrm>
                  <a:off x="4682" y="3414"/>
                  <a:ext cx="27" cy="19"/>
                </a:xfrm>
                <a:custGeom>
                  <a:avLst/>
                  <a:gdLst/>
                  <a:ahLst/>
                  <a:cxnLst>
                    <a:cxn ang="0">
                      <a:pos x="31" y="1"/>
                    </a:cxn>
                    <a:cxn ang="0">
                      <a:pos x="10" y="2"/>
                    </a:cxn>
                    <a:cxn ang="0">
                      <a:pos x="13" y="15"/>
                    </a:cxn>
                    <a:cxn ang="0">
                      <a:pos x="25" y="19"/>
                    </a:cxn>
                    <a:cxn ang="0">
                      <a:pos x="31" y="1"/>
                    </a:cxn>
                  </a:cxnLst>
                  <a:rect l="0" t="0" r="r" b="b"/>
                  <a:pathLst>
                    <a:path w="35" h="27">
                      <a:moveTo>
                        <a:pt x="31" y="1"/>
                      </a:moveTo>
                      <a:cubicBezTo>
                        <a:pt x="35" y="11"/>
                        <a:pt x="18" y="0"/>
                        <a:pt x="10" y="2"/>
                      </a:cubicBezTo>
                      <a:cubicBezTo>
                        <a:pt x="0" y="9"/>
                        <a:pt x="8" y="7"/>
                        <a:pt x="13" y="15"/>
                      </a:cubicBezTo>
                      <a:cubicBezTo>
                        <a:pt x="15" y="27"/>
                        <a:pt x="16" y="24"/>
                        <a:pt x="25" y="19"/>
                      </a:cubicBezTo>
                      <a:cubicBezTo>
                        <a:pt x="33" y="8"/>
                        <a:pt x="32" y="15"/>
                        <a:pt x="31" y="1"/>
                      </a:cubicBezTo>
                      <a:close/>
                    </a:path>
                  </a:pathLst>
                </a:custGeom>
                <a:solidFill>
                  <a:srgbClr val="C0C0C0"/>
                </a:solidFill>
                <a:ln w="6350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>
                  <a:outerShdw dist="28398" dir="3806097" algn="ctr" rotWithShape="0">
                    <a:srgbClr val="333333">
                      <a:alpha val="50000"/>
                    </a:srgbClr>
                  </a:outerShdw>
                </a:effectLst>
              </p:spPr>
              <p:txBody>
                <a:bodyPr/>
                <a:lstStyle/>
                <a:p>
                  <a:pPr>
                    <a:defRPr/>
                  </a:pPr>
                  <a:endParaRPr lang="zh-CN" altLang="en-US"/>
                </a:p>
              </p:txBody>
            </p:sp>
            <p:sp>
              <p:nvSpPr>
                <p:cNvPr id="175" name="Freeform 81"/>
                <p:cNvSpPr>
                  <a:spLocks/>
                </p:cNvSpPr>
                <p:nvPr/>
              </p:nvSpPr>
              <p:spPr bwMode="blackWhite">
                <a:xfrm>
                  <a:off x="4657" y="3388"/>
                  <a:ext cx="26" cy="35"/>
                </a:xfrm>
                <a:custGeom>
                  <a:avLst/>
                  <a:gdLst/>
                  <a:ahLst/>
                  <a:cxnLst>
                    <a:cxn ang="0">
                      <a:pos x="28" y="16"/>
                    </a:cxn>
                    <a:cxn ang="0">
                      <a:pos x="19" y="2"/>
                    </a:cxn>
                    <a:cxn ang="0">
                      <a:pos x="10" y="25"/>
                    </a:cxn>
                    <a:cxn ang="0">
                      <a:pos x="19" y="35"/>
                    </a:cxn>
                    <a:cxn ang="0">
                      <a:pos x="27" y="29"/>
                    </a:cxn>
                    <a:cxn ang="0">
                      <a:pos x="28" y="16"/>
                    </a:cxn>
                  </a:cxnLst>
                  <a:rect l="0" t="0" r="r" b="b"/>
                  <a:pathLst>
                    <a:path w="35" h="47">
                      <a:moveTo>
                        <a:pt x="28" y="16"/>
                      </a:moveTo>
                      <a:cubicBezTo>
                        <a:pt x="27" y="13"/>
                        <a:pt x="22" y="0"/>
                        <a:pt x="19" y="2"/>
                      </a:cubicBezTo>
                      <a:cubicBezTo>
                        <a:pt x="16" y="4"/>
                        <a:pt x="10" y="20"/>
                        <a:pt x="10" y="25"/>
                      </a:cubicBezTo>
                      <a:cubicBezTo>
                        <a:pt x="0" y="32"/>
                        <a:pt x="14" y="27"/>
                        <a:pt x="19" y="35"/>
                      </a:cubicBezTo>
                      <a:cubicBezTo>
                        <a:pt x="21" y="47"/>
                        <a:pt x="18" y="34"/>
                        <a:pt x="27" y="29"/>
                      </a:cubicBezTo>
                      <a:cubicBezTo>
                        <a:pt x="35" y="18"/>
                        <a:pt x="29" y="30"/>
                        <a:pt x="28" y="16"/>
                      </a:cubicBezTo>
                      <a:close/>
                    </a:path>
                  </a:pathLst>
                </a:custGeom>
                <a:solidFill>
                  <a:srgbClr val="C0C0C0"/>
                </a:solidFill>
                <a:ln w="6350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>
                  <a:outerShdw dist="28398" dir="3806097" algn="ctr" rotWithShape="0">
                    <a:srgbClr val="333333">
                      <a:alpha val="50000"/>
                    </a:srgbClr>
                  </a:outerShdw>
                </a:effectLst>
              </p:spPr>
              <p:txBody>
                <a:bodyPr/>
                <a:lstStyle/>
                <a:p>
                  <a:pPr>
                    <a:defRPr/>
                  </a:pPr>
                  <a:endParaRPr lang="zh-CN" altLang="en-US"/>
                </a:p>
              </p:txBody>
            </p:sp>
            <p:sp>
              <p:nvSpPr>
                <p:cNvPr id="176" name="Freeform 82"/>
                <p:cNvSpPr>
                  <a:spLocks/>
                </p:cNvSpPr>
                <p:nvPr/>
              </p:nvSpPr>
              <p:spPr bwMode="blackWhite">
                <a:xfrm>
                  <a:off x="4625" y="3372"/>
                  <a:ext cx="22" cy="26"/>
                </a:xfrm>
                <a:custGeom>
                  <a:avLst/>
                  <a:gdLst/>
                  <a:ahLst/>
                  <a:cxnLst>
                    <a:cxn ang="0">
                      <a:pos x="22" y="10"/>
                    </a:cxn>
                    <a:cxn ang="0">
                      <a:pos x="10" y="2"/>
                    </a:cxn>
                    <a:cxn ang="0">
                      <a:pos x="12" y="23"/>
                    </a:cxn>
                    <a:cxn ang="0">
                      <a:pos x="24" y="27"/>
                    </a:cxn>
                    <a:cxn ang="0">
                      <a:pos x="22" y="10"/>
                    </a:cxn>
                  </a:cxnLst>
                  <a:rect l="0" t="0" r="r" b="b"/>
                  <a:pathLst>
                    <a:path w="32" h="35">
                      <a:moveTo>
                        <a:pt x="22" y="10"/>
                      </a:moveTo>
                      <a:cubicBezTo>
                        <a:pt x="26" y="20"/>
                        <a:pt x="18" y="0"/>
                        <a:pt x="10" y="2"/>
                      </a:cubicBezTo>
                      <a:cubicBezTo>
                        <a:pt x="0" y="9"/>
                        <a:pt x="7" y="15"/>
                        <a:pt x="12" y="23"/>
                      </a:cubicBezTo>
                      <a:cubicBezTo>
                        <a:pt x="14" y="35"/>
                        <a:pt x="15" y="32"/>
                        <a:pt x="24" y="27"/>
                      </a:cubicBezTo>
                      <a:cubicBezTo>
                        <a:pt x="32" y="16"/>
                        <a:pt x="23" y="24"/>
                        <a:pt x="22" y="10"/>
                      </a:cubicBezTo>
                      <a:close/>
                    </a:path>
                  </a:pathLst>
                </a:custGeom>
                <a:solidFill>
                  <a:srgbClr val="C0C0C0"/>
                </a:solidFill>
                <a:ln w="6350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>
                  <a:outerShdw dist="28398" dir="3806097" algn="ctr" rotWithShape="0">
                    <a:srgbClr val="333333">
                      <a:alpha val="50000"/>
                    </a:srgbClr>
                  </a:outerShdw>
                </a:effectLst>
              </p:spPr>
              <p:txBody>
                <a:bodyPr/>
                <a:lstStyle/>
                <a:p>
                  <a:pPr>
                    <a:defRPr/>
                  </a:pPr>
                  <a:endParaRPr lang="zh-CN" altLang="en-US"/>
                </a:p>
              </p:txBody>
            </p:sp>
            <p:sp>
              <p:nvSpPr>
                <p:cNvPr id="177" name="Freeform 83"/>
                <p:cNvSpPr>
                  <a:spLocks/>
                </p:cNvSpPr>
                <p:nvPr/>
              </p:nvSpPr>
              <p:spPr bwMode="blackWhite">
                <a:xfrm>
                  <a:off x="4665" y="3425"/>
                  <a:ext cx="26" cy="27"/>
                </a:xfrm>
                <a:custGeom>
                  <a:avLst/>
                  <a:gdLst/>
                  <a:ahLst/>
                  <a:cxnLst>
                    <a:cxn ang="0">
                      <a:pos x="22" y="10"/>
                    </a:cxn>
                    <a:cxn ang="0">
                      <a:pos x="10" y="2"/>
                    </a:cxn>
                    <a:cxn ang="0">
                      <a:pos x="12" y="23"/>
                    </a:cxn>
                    <a:cxn ang="0">
                      <a:pos x="24" y="27"/>
                    </a:cxn>
                    <a:cxn ang="0">
                      <a:pos x="22" y="10"/>
                    </a:cxn>
                  </a:cxnLst>
                  <a:rect l="0" t="0" r="r" b="b"/>
                  <a:pathLst>
                    <a:path w="32" h="35">
                      <a:moveTo>
                        <a:pt x="22" y="10"/>
                      </a:moveTo>
                      <a:cubicBezTo>
                        <a:pt x="26" y="20"/>
                        <a:pt x="18" y="0"/>
                        <a:pt x="10" y="2"/>
                      </a:cubicBezTo>
                      <a:cubicBezTo>
                        <a:pt x="0" y="9"/>
                        <a:pt x="7" y="15"/>
                        <a:pt x="12" y="23"/>
                      </a:cubicBezTo>
                      <a:cubicBezTo>
                        <a:pt x="14" y="35"/>
                        <a:pt x="15" y="32"/>
                        <a:pt x="24" y="27"/>
                      </a:cubicBezTo>
                      <a:cubicBezTo>
                        <a:pt x="32" y="16"/>
                        <a:pt x="23" y="24"/>
                        <a:pt x="22" y="10"/>
                      </a:cubicBezTo>
                      <a:close/>
                    </a:path>
                  </a:pathLst>
                </a:custGeom>
                <a:solidFill>
                  <a:srgbClr val="C0C0C0"/>
                </a:solidFill>
                <a:ln w="6350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>
                  <a:outerShdw dist="28398" dir="3806097" algn="ctr" rotWithShape="0">
                    <a:srgbClr val="333333">
                      <a:alpha val="50000"/>
                    </a:srgbClr>
                  </a:outerShdw>
                </a:effectLst>
              </p:spPr>
              <p:txBody>
                <a:bodyPr/>
                <a:lstStyle/>
                <a:p>
                  <a:pPr>
                    <a:defRPr/>
                  </a:pPr>
                  <a:endParaRPr lang="zh-CN" altLang="en-US"/>
                </a:p>
              </p:txBody>
            </p:sp>
            <p:sp>
              <p:nvSpPr>
                <p:cNvPr id="178" name="Freeform 84"/>
                <p:cNvSpPr>
                  <a:spLocks/>
                </p:cNvSpPr>
                <p:nvPr/>
              </p:nvSpPr>
              <p:spPr bwMode="blackWhite">
                <a:xfrm>
                  <a:off x="3055" y="2051"/>
                  <a:ext cx="141" cy="108"/>
                </a:xfrm>
                <a:custGeom>
                  <a:avLst/>
                  <a:gdLst/>
                  <a:ahLst/>
                  <a:cxnLst>
                    <a:cxn ang="0">
                      <a:pos x="171" y="4"/>
                    </a:cxn>
                    <a:cxn ang="0">
                      <a:pos x="185" y="4"/>
                    </a:cxn>
                    <a:cxn ang="0">
                      <a:pos x="189" y="16"/>
                    </a:cxn>
                    <a:cxn ang="0">
                      <a:pos x="187" y="24"/>
                    </a:cxn>
                    <a:cxn ang="0">
                      <a:pos x="131" y="44"/>
                    </a:cxn>
                    <a:cxn ang="0">
                      <a:pos x="109" y="58"/>
                    </a:cxn>
                    <a:cxn ang="0">
                      <a:pos x="97" y="62"/>
                    </a:cxn>
                    <a:cxn ang="0">
                      <a:pos x="71" y="82"/>
                    </a:cxn>
                    <a:cxn ang="0">
                      <a:pos x="75" y="92"/>
                    </a:cxn>
                    <a:cxn ang="0">
                      <a:pos x="83" y="116"/>
                    </a:cxn>
                    <a:cxn ang="0">
                      <a:pos x="107" y="126"/>
                    </a:cxn>
                    <a:cxn ang="0">
                      <a:pos x="93" y="140"/>
                    </a:cxn>
                    <a:cxn ang="0">
                      <a:pos x="83" y="130"/>
                    </a:cxn>
                    <a:cxn ang="0">
                      <a:pos x="71" y="134"/>
                    </a:cxn>
                    <a:cxn ang="0">
                      <a:pos x="21" y="122"/>
                    </a:cxn>
                    <a:cxn ang="0">
                      <a:pos x="19" y="106"/>
                    </a:cxn>
                    <a:cxn ang="0">
                      <a:pos x="47" y="90"/>
                    </a:cxn>
                    <a:cxn ang="0">
                      <a:pos x="51" y="76"/>
                    </a:cxn>
                    <a:cxn ang="0">
                      <a:pos x="47" y="64"/>
                    </a:cxn>
                    <a:cxn ang="0">
                      <a:pos x="73" y="46"/>
                    </a:cxn>
                    <a:cxn ang="0">
                      <a:pos x="97" y="36"/>
                    </a:cxn>
                    <a:cxn ang="0">
                      <a:pos x="113" y="24"/>
                    </a:cxn>
                    <a:cxn ang="0">
                      <a:pos x="171" y="4"/>
                    </a:cxn>
                  </a:cxnLst>
                  <a:rect l="0" t="0" r="r" b="b"/>
                  <a:pathLst>
                    <a:path w="189" h="144">
                      <a:moveTo>
                        <a:pt x="171" y="4"/>
                      </a:moveTo>
                      <a:cubicBezTo>
                        <a:pt x="174" y="3"/>
                        <a:pt x="182" y="0"/>
                        <a:pt x="185" y="4"/>
                      </a:cubicBezTo>
                      <a:cubicBezTo>
                        <a:pt x="187" y="7"/>
                        <a:pt x="189" y="16"/>
                        <a:pt x="189" y="16"/>
                      </a:cubicBezTo>
                      <a:cubicBezTo>
                        <a:pt x="188" y="19"/>
                        <a:pt x="189" y="22"/>
                        <a:pt x="187" y="24"/>
                      </a:cubicBezTo>
                      <a:cubicBezTo>
                        <a:pt x="175" y="34"/>
                        <a:pt x="146" y="34"/>
                        <a:pt x="131" y="44"/>
                      </a:cubicBezTo>
                      <a:cubicBezTo>
                        <a:pt x="125" y="53"/>
                        <a:pt x="120" y="54"/>
                        <a:pt x="109" y="58"/>
                      </a:cubicBezTo>
                      <a:cubicBezTo>
                        <a:pt x="105" y="59"/>
                        <a:pt x="97" y="62"/>
                        <a:pt x="97" y="62"/>
                      </a:cubicBezTo>
                      <a:cubicBezTo>
                        <a:pt x="88" y="76"/>
                        <a:pt x="83" y="74"/>
                        <a:pt x="71" y="82"/>
                      </a:cubicBezTo>
                      <a:cubicBezTo>
                        <a:pt x="66" y="98"/>
                        <a:pt x="70" y="78"/>
                        <a:pt x="75" y="92"/>
                      </a:cubicBezTo>
                      <a:cubicBezTo>
                        <a:pt x="81" y="108"/>
                        <a:pt x="71" y="108"/>
                        <a:pt x="83" y="116"/>
                      </a:cubicBezTo>
                      <a:cubicBezTo>
                        <a:pt x="90" y="121"/>
                        <a:pt x="107" y="126"/>
                        <a:pt x="107" y="126"/>
                      </a:cubicBezTo>
                      <a:cubicBezTo>
                        <a:pt x="105" y="139"/>
                        <a:pt x="106" y="144"/>
                        <a:pt x="93" y="140"/>
                      </a:cubicBezTo>
                      <a:cubicBezTo>
                        <a:pt x="91" y="137"/>
                        <a:pt x="87" y="130"/>
                        <a:pt x="83" y="130"/>
                      </a:cubicBezTo>
                      <a:cubicBezTo>
                        <a:pt x="79" y="130"/>
                        <a:pt x="71" y="134"/>
                        <a:pt x="71" y="134"/>
                      </a:cubicBezTo>
                      <a:cubicBezTo>
                        <a:pt x="52" y="129"/>
                        <a:pt x="42" y="124"/>
                        <a:pt x="21" y="122"/>
                      </a:cubicBezTo>
                      <a:cubicBezTo>
                        <a:pt x="14" y="115"/>
                        <a:pt x="0" y="102"/>
                        <a:pt x="19" y="106"/>
                      </a:cubicBezTo>
                      <a:cubicBezTo>
                        <a:pt x="29" y="91"/>
                        <a:pt x="26" y="93"/>
                        <a:pt x="47" y="90"/>
                      </a:cubicBezTo>
                      <a:cubicBezTo>
                        <a:pt x="55" y="84"/>
                        <a:pt x="54" y="88"/>
                        <a:pt x="51" y="76"/>
                      </a:cubicBezTo>
                      <a:cubicBezTo>
                        <a:pt x="50" y="72"/>
                        <a:pt x="47" y="64"/>
                        <a:pt x="47" y="64"/>
                      </a:cubicBezTo>
                      <a:cubicBezTo>
                        <a:pt x="50" y="41"/>
                        <a:pt x="50" y="43"/>
                        <a:pt x="73" y="46"/>
                      </a:cubicBezTo>
                      <a:cubicBezTo>
                        <a:pt x="82" y="45"/>
                        <a:pt x="97" y="36"/>
                        <a:pt x="97" y="36"/>
                      </a:cubicBezTo>
                      <a:cubicBezTo>
                        <a:pt x="102" y="29"/>
                        <a:pt x="105" y="27"/>
                        <a:pt x="113" y="24"/>
                      </a:cubicBezTo>
                      <a:cubicBezTo>
                        <a:pt x="134" y="27"/>
                        <a:pt x="161" y="25"/>
                        <a:pt x="171" y="4"/>
                      </a:cubicBezTo>
                      <a:close/>
                    </a:path>
                  </a:pathLst>
                </a:custGeom>
                <a:solidFill>
                  <a:srgbClr val="C0C0C0"/>
                </a:solidFill>
                <a:ln w="6350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>
                  <a:outerShdw dist="28398" dir="3806097" algn="ctr" rotWithShape="0">
                    <a:srgbClr val="333333">
                      <a:alpha val="50000"/>
                    </a:srgbClr>
                  </a:outerShdw>
                </a:effectLst>
              </p:spPr>
              <p:txBody>
                <a:bodyPr/>
                <a:lstStyle/>
                <a:p>
                  <a:pPr>
                    <a:defRPr/>
                  </a:pPr>
                  <a:endParaRPr lang="zh-CN" altLang="en-US"/>
                </a:p>
              </p:txBody>
            </p:sp>
            <p:sp>
              <p:nvSpPr>
                <p:cNvPr id="179" name="Freeform 85"/>
                <p:cNvSpPr>
                  <a:spLocks/>
                </p:cNvSpPr>
                <p:nvPr/>
              </p:nvSpPr>
              <p:spPr bwMode="blackWhite">
                <a:xfrm>
                  <a:off x="3139" y="2155"/>
                  <a:ext cx="40" cy="12"/>
                </a:xfrm>
                <a:custGeom>
                  <a:avLst/>
                  <a:gdLst/>
                  <a:ahLst/>
                  <a:cxnLst>
                    <a:cxn ang="0">
                      <a:pos x="24" y="0"/>
                    </a:cxn>
                    <a:cxn ang="0">
                      <a:pos x="12" y="2"/>
                    </a:cxn>
                    <a:cxn ang="0">
                      <a:pos x="32" y="16"/>
                    </a:cxn>
                    <a:cxn ang="0">
                      <a:pos x="44" y="14"/>
                    </a:cxn>
                    <a:cxn ang="0">
                      <a:pos x="24" y="0"/>
                    </a:cxn>
                  </a:cxnLst>
                  <a:rect l="0" t="0" r="r" b="b"/>
                  <a:pathLst>
                    <a:path w="53" h="17">
                      <a:moveTo>
                        <a:pt x="24" y="0"/>
                      </a:moveTo>
                      <a:cubicBezTo>
                        <a:pt x="20" y="1"/>
                        <a:pt x="16" y="0"/>
                        <a:pt x="12" y="2"/>
                      </a:cubicBezTo>
                      <a:cubicBezTo>
                        <a:pt x="0" y="9"/>
                        <a:pt x="30" y="15"/>
                        <a:pt x="32" y="16"/>
                      </a:cubicBezTo>
                      <a:cubicBezTo>
                        <a:pt x="36" y="15"/>
                        <a:pt x="41" y="17"/>
                        <a:pt x="44" y="14"/>
                      </a:cubicBezTo>
                      <a:cubicBezTo>
                        <a:pt x="53" y="3"/>
                        <a:pt x="30" y="0"/>
                        <a:pt x="24" y="0"/>
                      </a:cubicBezTo>
                      <a:close/>
                    </a:path>
                  </a:pathLst>
                </a:custGeom>
                <a:solidFill>
                  <a:srgbClr val="C0C0C0"/>
                </a:solidFill>
                <a:ln w="6350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>
                  <a:outerShdw dist="28398" dir="3806097" algn="ctr" rotWithShape="0">
                    <a:srgbClr val="333333">
                      <a:alpha val="50000"/>
                    </a:srgbClr>
                  </a:outerShdw>
                </a:effectLst>
              </p:spPr>
              <p:txBody>
                <a:bodyPr/>
                <a:lstStyle/>
                <a:p>
                  <a:pPr>
                    <a:defRPr/>
                  </a:pPr>
                  <a:endParaRPr lang="zh-CN" altLang="en-US"/>
                </a:p>
              </p:txBody>
            </p:sp>
            <p:sp>
              <p:nvSpPr>
                <p:cNvPr id="180" name="Freeform 86"/>
                <p:cNvSpPr>
                  <a:spLocks/>
                </p:cNvSpPr>
                <p:nvPr/>
              </p:nvSpPr>
              <p:spPr bwMode="blackWhite">
                <a:xfrm>
                  <a:off x="3344" y="1999"/>
                  <a:ext cx="40" cy="28"/>
                </a:xfrm>
                <a:custGeom>
                  <a:avLst/>
                  <a:gdLst/>
                  <a:ahLst/>
                  <a:cxnLst>
                    <a:cxn ang="0">
                      <a:pos x="57" y="4"/>
                    </a:cxn>
                    <a:cxn ang="0">
                      <a:pos x="25" y="24"/>
                    </a:cxn>
                    <a:cxn ang="0">
                      <a:pos x="11" y="34"/>
                    </a:cxn>
                    <a:cxn ang="0">
                      <a:pos x="9" y="4"/>
                    </a:cxn>
                    <a:cxn ang="0">
                      <a:pos x="21" y="0"/>
                    </a:cxn>
                    <a:cxn ang="0">
                      <a:pos x="57" y="4"/>
                    </a:cxn>
                  </a:cxnLst>
                  <a:rect l="0" t="0" r="r" b="b"/>
                  <a:pathLst>
                    <a:path w="57" h="37">
                      <a:moveTo>
                        <a:pt x="57" y="4"/>
                      </a:moveTo>
                      <a:cubicBezTo>
                        <a:pt x="53" y="16"/>
                        <a:pt x="35" y="17"/>
                        <a:pt x="25" y="24"/>
                      </a:cubicBezTo>
                      <a:cubicBezTo>
                        <a:pt x="22" y="34"/>
                        <a:pt x="22" y="37"/>
                        <a:pt x="11" y="34"/>
                      </a:cubicBezTo>
                      <a:cubicBezTo>
                        <a:pt x="6" y="27"/>
                        <a:pt x="0" y="10"/>
                        <a:pt x="9" y="4"/>
                      </a:cubicBezTo>
                      <a:cubicBezTo>
                        <a:pt x="12" y="2"/>
                        <a:pt x="21" y="0"/>
                        <a:pt x="21" y="0"/>
                      </a:cubicBezTo>
                      <a:cubicBezTo>
                        <a:pt x="33" y="2"/>
                        <a:pt x="45" y="4"/>
                        <a:pt x="57" y="4"/>
                      </a:cubicBezTo>
                      <a:close/>
                    </a:path>
                  </a:pathLst>
                </a:custGeom>
                <a:solidFill>
                  <a:srgbClr val="C0C0C0"/>
                </a:solidFill>
                <a:ln w="6350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>
                  <a:outerShdw dist="28398" dir="3806097" algn="ctr" rotWithShape="0">
                    <a:srgbClr val="333333">
                      <a:alpha val="50000"/>
                    </a:srgbClr>
                  </a:outerShdw>
                </a:effectLst>
              </p:spPr>
              <p:txBody>
                <a:bodyPr/>
                <a:lstStyle/>
                <a:p>
                  <a:pPr>
                    <a:defRPr/>
                  </a:pPr>
                  <a:endParaRPr lang="zh-CN" altLang="en-US"/>
                </a:p>
              </p:txBody>
            </p:sp>
            <p:sp>
              <p:nvSpPr>
                <p:cNvPr id="181" name="Freeform 87"/>
                <p:cNvSpPr>
                  <a:spLocks/>
                </p:cNvSpPr>
                <p:nvPr/>
              </p:nvSpPr>
              <p:spPr bwMode="blackWhite">
                <a:xfrm>
                  <a:off x="3374" y="2012"/>
                  <a:ext cx="50" cy="19"/>
                </a:xfrm>
                <a:custGeom>
                  <a:avLst/>
                  <a:gdLst/>
                  <a:ahLst/>
                  <a:cxnLst>
                    <a:cxn ang="0">
                      <a:pos x="29" y="0"/>
                    </a:cxn>
                    <a:cxn ang="0">
                      <a:pos x="11" y="6"/>
                    </a:cxn>
                    <a:cxn ang="0">
                      <a:pos x="57" y="26"/>
                    </a:cxn>
                    <a:cxn ang="0">
                      <a:pos x="63" y="24"/>
                    </a:cxn>
                    <a:cxn ang="0">
                      <a:pos x="29" y="0"/>
                    </a:cxn>
                  </a:cxnLst>
                  <a:rect l="0" t="0" r="r" b="b"/>
                  <a:pathLst>
                    <a:path w="68" h="26">
                      <a:moveTo>
                        <a:pt x="29" y="0"/>
                      </a:moveTo>
                      <a:cubicBezTo>
                        <a:pt x="23" y="2"/>
                        <a:pt x="11" y="6"/>
                        <a:pt x="11" y="6"/>
                      </a:cubicBezTo>
                      <a:cubicBezTo>
                        <a:pt x="0" y="23"/>
                        <a:pt x="47" y="24"/>
                        <a:pt x="57" y="26"/>
                      </a:cubicBezTo>
                      <a:cubicBezTo>
                        <a:pt x="59" y="25"/>
                        <a:pt x="62" y="26"/>
                        <a:pt x="63" y="24"/>
                      </a:cubicBezTo>
                      <a:cubicBezTo>
                        <a:pt x="68" y="3"/>
                        <a:pt x="42" y="3"/>
                        <a:pt x="29" y="0"/>
                      </a:cubicBezTo>
                      <a:close/>
                    </a:path>
                  </a:pathLst>
                </a:custGeom>
                <a:solidFill>
                  <a:srgbClr val="C0C0C0"/>
                </a:solidFill>
                <a:ln w="6350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>
                  <a:outerShdw dist="28398" dir="3806097" algn="ctr" rotWithShape="0">
                    <a:srgbClr val="333333">
                      <a:alpha val="50000"/>
                    </a:srgbClr>
                  </a:outerShdw>
                </a:effectLst>
              </p:spPr>
              <p:txBody>
                <a:bodyPr/>
                <a:lstStyle/>
                <a:p>
                  <a:pPr>
                    <a:defRPr/>
                  </a:pPr>
                  <a:endParaRPr lang="zh-CN" altLang="en-US"/>
                </a:p>
              </p:txBody>
            </p:sp>
            <p:sp>
              <p:nvSpPr>
                <p:cNvPr id="182" name="Freeform 88"/>
                <p:cNvSpPr>
                  <a:spLocks/>
                </p:cNvSpPr>
                <p:nvPr/>
              </p:nvSpPr>
              <p:spPr bwMode="blackWhite">
                <a:xfrm>
                  <a:off x="3428" y="2015"/>
                  <a:ext cx="49" cy="32"/>
                </a:xfrm>
                <a:custGeom>
                  <a:avLst/>
                  <a:gdLst/>
                  <a:ahLst/>
                  <a:cxnLst>
                    <a:cxn ang="0">
                      <a:pos x="50" y="9"/>
                    </a:cxn>
                    <a:cxn ang="0">
                      <a:pos x="26" y="9"/>
                    </a:cxn>
                    <a:cxn ang="0">
                      <a:pos x="10" y="9"/>
                    </a:cxn>
                    <a:cxn ang="0">
                      <a:pos x="8" y="35"/>
                    </a:cxn>
                    <a:cxn ang="0">
                      <a:pos x="32" y="43"/>
                    </a:cxn>
                    <a:cxn ang="0">
                      <a:pos x="62" y="27"/>
                    </a:cxn>
                    <a:cxn ang="0">
                      <a:pos x="50" y="9"/>
                    </a:cxn>
                  </a:cxnLst>
                  <a:rect l="0" t="0" r="r" b="b"/>
                  <a:pathLst>
                    <a:path w="66" h="43">
                      <a:moveTo>
                        <a:pt x="50" y="9"/>
                      </a:moveTo>
                      <a:cubicBezTo>
                        <a:pt x="40" y="16"/>
                        <a:pt x="36" y="16"/>
                        <a:pt x="26" y="9"/>
                      </a:cubicBezTo>
                      <a:cubicBezTo>
                        <a:pt x="20" y="0"/>
                        <a:pt x="18" y="4"/>
                        <a:pt x="10" y="9"/>
                      </a:cubicBezTo>
                      <a:cubicBezTo>
                        <a:pt x="4" y="17"/>
                        <a:pt x="0" y="21"/>
                        <a:pt x="8" y="35"/>
                      </a:cubicBezTo>
                      <a:cubicBezTo>
                        <a:pt x="12" y="42"/>
                        <a:pt x="32" y="43"/>
                        <a:pt x="32" y="43"/>
                      </a:cubicBezTo>
                      <a:cubicBezTo>
                        <a:pt x="41" y="40"/>
                        <a:pt x="54" y="33"/>
                        <a:pt x="62" y="27"/>
                      </a:cubicBezTo>
                      <a:cubicBezTo>
                        <a:pt x="66" y="15"/>
                        <a:pt x="61" y="15"/>
                        <a:pt x="50" y="9"/>
                      </a:cubicBezTo>
                      <a:close/>
                    </a:path>
                  </a:pathLst>
                </a:custGeom>
                <a:solidFill>
                  <a:srgbClr val="C0C0C0"/>
                </a:solidFill>
                <a:ln w="6350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>
                  <a:outerShdw dist="28398" dir="3806097" algn="ctr" rotWithShape="0">
                    <a:srgbClr val="333333">
                      <a:alpha val="50000"/>
                    </a:srgbClr>
                  </a:outerShdw>
                </a:effectLst>
              </p:spPr>
              <p:txBody>
                <a:bodyPr/>
                <a:lstStyle/>
                <a:p>
                  <a:pPr>
                    <a:defRPr/>
                  </a:pPr>
                  <a:endParaRPr lang="zh-CN" altLang="en-US"/>
                </a:p>
              </p:txBody>
            </p:sp>
            <p:sp>
              <p:nvSpPr>
                <p:cNvPr id="183" name="Freeform 89"/>
                <p:cNvSpPr>
                  <a:spLocks/>
                </p:cNvSpPr>
                <p:nvPr/>
              </p:nvSpPr>
              <p:spPr bwMode="blackWhite">
                <a:xfrm>
                  <a:off x="3777" y="2042"/>
                  <a:ext cx="88" cy="31"/>
                </a:xfrm>
                <a:custGeom>
                  <a:avLst/>
                  <a:gdLst/>
                  <a:ahLst/>
                  <a:cxnLst>
                    <a:cxn ang="0">
                      <a:pos x="14" y="0"/>
                    </a:cxn>
                    <a:cxn ang="0">
                      <a:pos x="8" y="16"/>
                    </a:cxn>
                    <a:cxn ang="0">
                      <a:pos x="50" y="30"/>
                    </a:cxn>
                    <a:cxn ang="0">
                      <a:pos x="76" y="36"/>
                    </a:cxn>
                    <a:cxn ang="0">
                      <a:pos x="112" y="22"/>
                    </a:cxn>
                    <a:cxn ang="0">
                      <a:pos x="78" y="4"/>
                    </a:cxn>
                    <a:cxn ang="0">
                      <a:pos x="14" y="0"/>
                    </a:cxn>
                  </a:cxnLst>
                  <a:rect l="0" t="0" r="r" b="b"/>
                  <a:pathLst>
                    <a:path w="117" h="41">
                      <a:moveTo>
                        <a:pt x="14" y="0"/>
                      </a:moveTo>
                      <a:cubicBezTo>
                        <a:pt x="8" y="4"/>
                        <a:pt x="0" y="9"/>
                        <a:pt x="8" y="16"/>
                      </a:cubicBezTo>
                      <a:cubicBezTo>
                        <a:pt x="21" y="27"/>
                        <a:pt x="34" y="28"/>
                        <a:pt x="50" y="30"/>
                      </a:cubicBezTo>
                      <a:cubicBezTo>
                        <a:pt x="66" y="41"/>
                        <a:pt x="57" y="39"/>
                        <a:pt x="76" y="36"/>
                      </a:cubicBezTo>
                      <a:cubicBezTo>
                        <a:pt x="88" y="32"/>
                        <a:pt x="101" y="29"/>
                        <a:pt x="112" y="22"/>
                      </a:cubicBezTo>
                      <a:cubicBezTo>
                        <a:pt x="117" y="6"/>
                        <a:pt x="87" y="5"/>
                        <a:pt x="78" y="4"/>
                      </a:cubicBezTo>
                      <a:cubicBezTo>
                        <a:pt x="17" y="6"/>
                        <a:pt x="34" y="20"/>
                        <a:pt x="14" y="0"/>
                      </a:cubicBezTo>
                      <a:close/>
                    </a:path>
                  </a:pathLst>
                </a:custGeom>
                <a:solidFill>
                  <a:srgbClr val="C0C0C0"/>
                </a:solidFill>
                <a:ln w="6350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>
                  <a:outerShdw dist="28398" dir="3806097" algn="ctr" rotWithShape="0">
                    <a:srgbClr val="333333">
                      <a:alpha val="50000"/>
                    </a:srgbClr>
                  </a:outerShdw>
                </a:effectLst>
              </p:spPr>
              <p:txBody>
                <a:bodyPr/>
                <a:lstStyle/>
                <a:p>
                  <a:pPr>
                    <a:defRPr/>
                  </a:pPr>
                  <a:endParaRPr lang="zh-CN" altLang="en-US"/>
                </a:p>
              </p:txBody>
            </p:sp>
            <p:sp>
              <p:nvSpPr>
                <p:cNvPr id="184" name="Freeform 90"/>
                <p:cNvSpPr>
                  <a:spLocks/>
                </p:cNvSpPr>
                <p:nvPr/>
              </p:nvSpPr>
              <p:spPr bwMode="blackWhite">
                <a:xfrm>
                  <a:off x="3866" y="2040"/>
                  <a:ext cx="47" cy="25"/>
                </a:xfrm>
                <a:custGeom>
                  <a:avLst/>
                  <a:gdLst/>
                  <a:ahLst/>
                  <a:cxnLst>
                    <a:cxn ang="0">
                      <a:pos x="32" y="4"/>
                    </a:cxn>
                    <a:cxn ang="0">
                      <a:pos x="62" y="10"/>
                    </a:cxn>
                    <a:cxn ang="0">
                      <a:pos x="30" y="32"/>
                    </a:cxn>
                    <a:cxn ang="0">
                      <a:pos x="6" y="22"/>
                    </a:cxn>
                    <a:cxn ang="0">
                      <a:pos x="32" y="4"/>
                    </a:cxn>
                  </a:cxnLst>
                  <a:rect l="0" t="0" r="r" b="b"/>
                  <a:pathLst>
                    <a:path w="62" h="32">
                      <a:moveTo>
                        <a:pt x="32" y="4"/>
                      </a:moveTo>
                      <a:cubicBezTo>
                        <a:pt x="44" y="0"/>
                        <a:pt x="53" y="1"/>
                        <a:pt x="62" y="10"/>
                      </a:cubicBezTo>
                      <a:cubicBezTo>
                        <a:pt x="59" y="23"/>
                        <a:pt x="42" y="28"/>
                        <a:pt x="30" y="32"/>
                      </a:cubicBezTo>
                      <a:cubicBezTo>
                        <a:pt x="15" y="22"/>
                        <a:pt x="23" y="25"/>
                        <a:pt x="6" y="22"/>
                      </a:cubicBezTo>
                      <a:cubicBezTo>
                        <a:pt x="0" y="4"/>
                        <a:pt x="14" y="8"/>
                        <a:pt x="32" y="4"/>
                      </a:cubicBezTo>
                      <a:close/>
                    </a:path>
                  </a:pathLst>
                </a:custGeom>
                <a:solidFill>
                  <a:srgbClr val="C0C0C0"/>
                </a:solidFill>
                <a:ln w="6350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>
                  <a:outerShdw dist="28398" dir="3806097" algn="ctr" rotWithShape="0">
                    <a:srgbClr val="333333">
                      <a:alpha val="50000"/>
                    </a:srgbClr>
                  </a:outerShdw>
                </a:effectLst>
              </p:spPr>
              <p:txBody>
                <a:bodyPr/>
                <a:lstStyle/>
                <a:p>
                  <a:pPr>
                    <a:defRPr/>
                  </a:pPr>
                  <a:endParaRPr lang="zh-CN" altLang="en-US"/>
                </a:p>
              </p:txBody>
            </p:sp>
            <p:sp>
              <p:nvSpPr>
                <p:cNvPr id="185" name="Freeform 91"/>
                <p:cNvSpPr>
                  <a:spLocks/>
                </p:cNvSpPr>
                <p:nvPr/>
              </p:nvSpPr>
              <p:spPr bwMode="blackWhite">
                <a:xfrm>
                  <a:off x="3846" y="2070"/>
                  <a:ext cx="37" cy="19"/>
                </a:xfrm>
                <a:custGeom>
                  <a:avLst/>
                  <a:gdLst/>
                  <a:ahLst/>
                  <a:cxnLst>
                    <a:cxn ang="0">
                      <a:pos x="20" y="1"/>
                    </a:cxn>
                    <a:cxn ang="0">
                      <a:pos x="6" y="5"/>
                    </a:cxn>
                    <a:cxn ang="0">
                      <a:pos x="38" y="23"/>
                    </a:cxn>
                    <a:cxn ang="0">
                      <a:pos x="20" y="1"/>
                    </a:cxn>
                  </a:cxnLst>
                  <a:rect l="0" t="0" r="r" b="b"/>
                  <a:pathLst>
                    <a:path w="49" h="23">
                      <a:moveTo>
                        <a:pt x="20" y="1"/>
                      </a:moveTo>
                      <a:cubicBezTo>
                        <a:pt x="15" y="2"/>
                        <a:pt x="8" y="0"/>
                        <a:pt x="6" y="5"/>
                      </a:cubicBezTo>
                      <a:cubicBezTo>
                        <a:pt x="0" y="19"/>
                        <a:pt x="32" y="21"/>
                        <a:pt x="38" y="23"/>
                      </a:cubicBezTo>
                      <a:cubicBezTo>
                        <a:pt x="49" y="6"/>
                        <a:pt x="35" y="3"/>
                        <a:pt x="20" y="1"/>
                      </a:cubicBezTo>
                      <a:close/>
                    </a:path>
                  </a:pathLst>
                </a:custGeom>
                <a:solidFill>
                  <a:srgbClr val="C0C0C0"/>
                </a:solidFill>
                <a:ln w="6350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>
                  <a:outerShdw dist="28398" dir="3806097" algn="ctr" rotWithShape="0">
                    <a:srgbClr val="333333">
                      <a:alpha val="50000"/>
                    </a:srgbClr>
                  </a:outerShdw>
                </a:effectLst>
              </p:spPr>
              <p:txBody>
                <a:bodyPr/>
                <a:lstStyle/>
                <a:p>
                  <a:pPr>
                    <a:defRPr/>
                  </a:pPr>
                  <a:endParaRPr lang="zh-CN" altLang="en-US"/>
                </a:p>
              </p:txBody>
            </p:sp>
            <p:sp>
              <p:nvSpPr>
                <p:cNvPr id="186" name="Freeform 92"/>
                <p:cNvSpPr>
                  <a:spLocks/>
                </p:cNvSpPr>
                <p:nvPr/>
              </p:nvSpPr>
              <p:spPr bwMode="blackWhite">
                <a:xfrm>
                  <a:off x="4098" y="2294"/>
                  <a:ext cx="76" cy="114"/>
                </a:xfrm>
                <a:custGeom>
                  <a:avLst/>
                  <a:gdLst/>
                  <a:ahLst/>
                  <a:cxnLst>
                    <a:cxn ang="0">
                      <a:pos x="6" y="0"/>
                    </a:cxn>
                    <a:cxn ang="0">
                      <a:pos x="0" y="18"/>
                    </a:cxn>
                    <a:cxn ang="0">
                      <a:pos x="14" y="42"/>
                    </a:cxn>
                    <a:cxn ang="0">
                      <a:pos x="32" y="72"/>
                    </a:cxn>
                    <a:cxn ang="0">
                      <a:pos x="36" y="104"/>
                    </a:cxn>
                    <a:cxn ang="0">
                      <a:pos x="80" y="152"/>
                    </a:cxn>
                    <a:cxn ang="0">
                      <a:pos x="86" y="124"/>
                    </a:cxn>
                    <a:cxn ang="0">
                      <a:pos x="74" y="102"/>
                    </a:cxn>
                    <a:cxn ang="0">
                      <a:pos x="62" y="92"/>
                    </a:cxn>
                    <a:cxn ang="0">
                      <a:pos x="52" y="74"/>
                    </a:cxn>
                    <a:cxn ang="0">
                      <a:pos x="42" y="44"/>
                    </a:cxn>
                    <a:cxn ang="0">
                      <a:pos x="4" y="12"/>
                    </a:cxn>
                    <a:cxn ang="0">
                      <a:pos x="6" y="0"/>
                    </a:cxn>
                  </a:cxnLst>
                  <a:rect l="0" t="0" r="r" b="b"/>
                  <a:pathLst>
                    <a:path w="102" h="152">
                      <a:moveTo>
                        <a:pt x="6" y="0"/>
                      </a:moveTo>
                      <a:cubicBezTo>
                        <a:pt x="4" y="6"/>
                        <a:pt x="0" y="18"/>
                        <a:pt x="0" y="18"/>
                      </a:cubicBezTo>
                      <a:cubicBezTo>
                        <a:pt x="3" y="26"/>
                        <a:pt x="9" y="35"/>
                        <a:pt x="14" y="42"/>
                      </a:cubicBezTo>
                      <a:cubicBezTo>
                        <a:pt x="17" y="58"/>
                        <a:pt x="16" y="69"/>
                        <a:pt x="32" y="72"/>
                      </a:cubicBezTo>
                      <a:cubicBezTo>
                        <a:pt x="44" y="80"/>
                        <a:pt x="40" y="91"/>
                        <a:pt x="36" y="104"/>
                      </a:cubicBezTo>
                      <a:cubicBezTo>
                        <a:pt x="57" y="118"/>
                        <a:pt x="60" y="139"/>
                        <a:pt x="80" y="152"/>
                      </a:cubicBezTo>
                      <a:cubicBezTo>
                        <a:pt x="95" y="148"/>
                        <a:pt x="102" y="135"/>
                        <a:pt x="86" y="124"/>
                      </a:cubicBezTo>
                      <a:cubicBezTo>
                        <a:pt x="72" y="129"/>
                        <a:pt x="78" y="110"/>
                        <a:pt x="74" y="102"/>
                      </a:cubicBezTo>
                      <a:cubicBezTo>
                        <a:pt x="72" y="98"/>
                        <a:pt x="65" y="94"/>
                        <a:pt x="62" y="92"/>
                      </a:cubicBezTo>
                      <a:cubicBezTo>
                        <a:pt x="59" y="82"/>
                        <a:pt x="65" y="65"/>
                        <a:pt x="52" y="74"/>
                      </a:cubicBezTo>
                      <a:cubicBezTo>
                        <a:pt x="46" y="65"/>
                        <a:pt x="47" y="54"/>
                        <a:pt x="42" y="44"/>
                      </a:cubicBezTo>
                      <a:cubicBezTo>
                        <a:pt x="36" y="32"/>
                        <a:pt x="16" y="18"/>
                        <a:pt x="4" y="12"/>
                      </a:cubicBezTo>
                      <a:lnTo>
                        <a:pt x="6" y="0"/>
                      </a:lnTo>
                      <a:close/>
                    </a:path>
                  </a:pathLst>
                </a:custGeom>
                <a:solidFill>
                  <a:srgbClr val="C0C0C0"/>
                </a:solidFill>
                <a:ln w="6350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>
                  <a:outerShdw dist="28398" dir="3806097" algn="ctr" rotWithShape="0">
                    <a:srgbClr val="333333">
                      <a:alpha val="50000"/>
                    </a:srgbClr>
                  </a:outerShdw>
                </a:effectLst>
              </p:spPr>
              <p:txBody>
                <a:bodyPr/>
                <a:lstStyle/>
                <a:p>
                  <a:pPr>
                    <a:defRPr/>
                  </a:pPr>
                  <a:endParaRPr lang="zh-CN" altLang="en-US"/>
                </a:p>
              </p:txBody>
            </p:sp>
            <p:sp>
              <p:nvSpPr>
                <p:cNvPr id="187" name="Freeform 93"/>
                <p:cNvSpPr>
                  <a:spLocks/>
                </p:cNvSpPr>
                <p:nvPr/>
              </p:nvSpPr>
              <p:spPr bwMode="blackWhite">
                <a:xfrm>
                  <a:off x="4159" y="2412"/>
                  <a:ext cx="55" cy="78"/>
                </a:xfrm>
                <a:custGeom>
                  <a:avLst/>
                  <a:gdLst/>
                  <a:ahLst/>
                  <a:cxnLst>
                    <a:cxn ang="0">
                      <a:pos x="64" y="22"/>
                    </a:cxn>
                    <a:cxn ang="0">
                      <a:pos x="74" y="40"/>
                    </a:cxn>
                    <a:cxn ang="0">
                      <a:pos x="30" y="84"/>
                    </a:cxn>
                    <a:cxn ang="0">
                      <a:pos x="32" y="100"/>
                    </a:cxn>
                    <a:cxn ang="0">
                      <a:pos x="20" y="94"/>
                    </a:cxn>
                    <a:cxn ang="0">
                      <a:pos x="6" y="84"/>
                    </a:cxn>
                    <a:cxn ang="0">
                      <a:pos x="0" y="82"/>
                    </a:cxn>
                    <a:cxn ang="0">
                      <a:pos x="10" y="58"/>
                    </a:cxn>
                    <a:cxn ang="0">
                      <a:pos x="12" y="52"/>
                    </a:cxn>
                    <a:cxn ang="0">
                      <a:pos x="2" y="24"/>
                    </a:cxn>
                    <a:cxn ang="0">
                      <a:pos x="4" y="14"/>
                    </a:cxn>
                    <a:cxn ang="0">
                      <a:pos x="26" y="22"/>
                    </a:cxn>
                    <a:cxn ang="0">
                      <a:pos x="36" y="36"/>
                    </a:cxn>
                    <a:cxn ang="0">
                      <a:pos x="64" y="22"/>
                    </a:cxn>
                  </a:cxnLst>
                  <a:rect l="0" t="0" r="r" b="b"/>
                  <a:pathLst>
                    <a:path w="74" h="103">
                      <a:moveTo>
                        <a:pt x="64" y="22"/>
                      </a:moveTo>
                      <a:cubicBezTo>
                        <a:pt x="73" y="36"/>
                        <a:pt x="70" y="29"/>
                        <a:pt x="74" y="40"/>
                      </a:cubicBezTo>
                      <a:cubicBezTo>
                        <a:pt x="70" y="77"/>
                        <a:pt x="68" y="81"/>
                        <a:pt x="30" y="84"/>
                      </a:cubicBezTo>
                      <a:cubicBezTo>
                        <a:pt x="33" y="88"/>
                        <a:pt x="39" y="95"/>
                        <a:pt x="32" y="100"/>
                      </a:cubicBezTo>
                      <a:cubicBezTo>
                        <a:pt x="28" y="103"/>
                        <a:pt x="24" y="95"/>
                        <a:pt x="20" y="94"/>
                      </a:cubicBezTo>
                      <a:cubicBezTo>
                        <a:pt x="17" y="84"/>
                        <a:pt x="20" y="89"/>
                        <a:pt x="6" y="84"/>
                      </a:cubicBezTo>
                      <a:cubicBezTo>
                        <a:pt x="4" y="83"/>
                        <a:pt x="0" y="82"/>
                        <a:pt x="0" y="82"/>
                      </a:cubicBezTo>
                      <a:cubicBezTo>
                        <a:pt x="3" y="73"/>
                        <a:pt x="7" y="67"/>
                        <a:pt x="10" y="58"/>
                      </a:cubicBezTo>
                      <a:cubicBezTo>
                        <a:pt x="11" y="56"/>
                        <a:pt x="12" y="52"/>
                        <a:pt x="12" y="52"/>
                      </a:cubicBezTo>
                      <a:cubicBezTo>
                        <a:pt x="10" y="42"/>
                        <a:pt x="8" y="33"/>
                        <a:pt x="2" y="24"/>
                      </a:cubicBezTo>
                      <a:cubicBezTo>
                        <a:pt x="3" y="21"/>
                        <a:pt x="2" y="17"/>
                        <a:pt x="4" y="14"/>
                      </a:cubicBezTo>
                      <a:cubicBezTo>
                        <a:pt x="11" y="0"/>
                        <a:pt x="18" y="19"/>
                        <a:pt x="26" y="22"/>
                      </a:cubicBezTo>
                      <a:cubicBezTo>
                        <a:pt x="31" y="36"/>
                        <a:pt x="26" y="33"/>
                        <a:pt x="36" y="36"/>
                      </a:cubicBezTo>
                      <a:cubicBezTo>
                        <a:pt x="45" y="30"/>
                        <a:pt x="55" y="28"/>
                        <a:pt x="64" y="22"/>
                      </a:cubicBezTo>
                      <a:close/>
                    </a:path>
                  </a:pathLst>
                </a:custGeom>
                <a:solidFill>
                  <a:srgbClr val="C0C0C0"/>
                </a:solidFill>
                <a:ln w="6350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>
                  <a:outerShdw dist="28398" dir="3806097" algn="ctr" rotWithShape="0">
                    <a:srgbClr val="333333">
                      <a:alpha val="50000"/>
                    </a:srgbClr>
                  </a:outerShdw>
                </a:effectLst>
              </p:spPr>
              <p:txBody>
                <a:bodyPr/>
                <a:lstStyle/>
                <a:p>
                  <a:pPr>
                    <a:defRPr/>
                  </a:pPr>
                  <a:endParaRPr lang="zh-CN" altLang="en-US"/>
                </a:p>
              </p:txBody>
            </p:sp>
            <p:sp>
              <p:nvSpPr>
                <p:cNvPr id="188" name="Freeform 94"/>
                <p:cNvSpPr>
                  <a:spLocks/>
                </p:cNvSpPr>
                <p:nvPr/>
              </p:nvSpPr>
              <p:spPr bwMode="blackWhite">
                <a:xfrm>
                  <a:off x="4122" y="2492"/>
                  <a:ext cx="110" cy="189"/>
                </a:xfrm>
                <a:custGeom>
                  <a:avLst/>
                  <a:gdLst/>
                  <a:ahLst/>
                  <a:cxnLst>
                    <a:cxn ang="0">
                      <a:pos x="82" y="100"/>
                    </a:cxn>
                    <a:cxn ang="0">
                      <a:pos x="66" y="106"/>
                    </a:cxn>
                    <a:cxn ang="0">
                      <a:pos x="64" y="132"/>
                    </a:cxn>
                    <a:cxn ang="0">
                      <a:pos x="22" y="146"/>
                    </a:cxn>
                    <a:cxn ang="0">
                      <a:pos x="8" y="168"/>
                    </a:cxn>
                    <a:cxn ang="0">
                      <a:pos x="20" y="182"/>
                    </a:cxn>
                    <a:cxn ang="0">
                      <a:pos x="8" y="198"/>
                    </a:cxn>
                    <a:cxn ang="0">
                      <a:pos x="24" y="252"/>
                    </a:cxn>
                    <a:cxn ang="0">
                      <a:pos x="28" y="214"/>
                    </a:cxn>
                    <a:cxn ang="0">
                      <a:pos x="22" y="192"/>
                    </a:cxn>
                    <a:cxn ang="0">
                      <a:pos x="42" y="176"/>
                    </a:cxn>
                    <a:cxn ang="0">
                      <a:pos x="52" y="158"/>
                    </a:cxn>
                    <a:cxn ang="0">
                      <a:pos x="66" y="174"/>
                    </a:cxn>
                    <a:cxn ang="0">
                      <a:pos x="44" y="190"/>
                    </a:cxn>
                    <a:cxn ang="0">
                      <a:pos x="56" y="200"/>
                    </a:cxn>
                    <a:cxn ang="0">
                      <a:pos x="68" y="178"/>
                    </a:cxn>
                    <a:cxn ang="0">
                      <a:pos x="84" y="184"/>
                    </a:cxn>
                    <a:cxn ang="0">
                      <a:pos x="104" y="148"/>
                    </a:cxn>
                    <a:cxn ang="0">
                      <a:pos x="114" y="156"/>
                    </a:cxn>
                    <a:cxn ang="0">
                      <a:pos x="136" y="148"/>
                    </a:cxn>
                    <a:cxn ang="0">
                      <a:pos x="146" y="130"/>
                    </a:cxn>
                    <a:cxn ang="0">
                      <a:pos x="142" y="110"/>
                    </a:cxn>
                    <a:cxn ang="0">
                      <a:pos x="134" y="98"/>
                    </a:cxn>
                    <a:cxn ang="0">
                      <a:pos x="122" y="40"/>
                    </a:cxn>
                    <a:cxn ang="0">
                      <a:pos x="94" y="0"/>
                    </a:cxn>
                    <a:cxn ang="0">
                      <a:pos x="78" y="12"/>
                    </a:cxn>
                    <a:cxn ang="0">
                      <a:pos x="96" y="34"/>
                    </a:cxn>
                    <a:cxn ang="0">
                      <a:pos x="96" y="64"/>
                    </a:cxn>
                    <a:cxn ang="0">
                      <a:pos x="82" y="100"/>
                    </a:cxn>
                  </a:cxnLst>
                  <a:rect l="0" t="0" r="r" b="b"/>
                  <a:pathLst>
                    <a:path w="146" h="252">
                      <a:moveTo>
                        <a:pt x="82" y="100"/>
                      </a:moveTo>
                      <a:cubicBezTo>
                        <a:pt x="70" y="88"/>
                        <a:pt x="69" y="92"/>
                        <a:pt x="66" y="106"/>
                      </a:cubicBezTo>
                      <a:cubicBezTo>
                        <a:pt x="65" y="115"/>
                        <a:pt x="68" y="124"/>
                        <a:pt x="64" y="132"/>
                      </a:cubicBezTo>
                      <a:cubicBezTo>
                        <a:pt x="63" y="133"/>
                        <a:pt x="28" y="142"/>
                        <a:pt x="22" y="146"/>
                      </a:cubicBezTo>
                      <a:cubicBezTo>
                        <a:pt x="18" y="157"/>
                        <a:pt x="18" y="162"/>
                        <a:pt x="8" y="168"/>
                      </a:cubicBezTo>
                      <a:cubicBezTo>
                        <a:pt x="0" y="180"/>
                        <a:pt x="7" y="180"/>
                        <a:pt x="20" y="182"/>
                      </a:cubicBezTo>
                      <a:cubicBezTo>
                        <a:pt x="17" y="190"/>
                        <a:pt x="15" y="193"/>
                        <a:pt x="8" y="198"/>
                      </a:cubicBezTo>
                      <a:cubicBezTo>
                        <a:pt x="10" y="214"/>
                        <a:pt x="9" y="242"/>
                        <a:pt x="24" y="252"/>
                      </a:cubicBezTo>
                      <a:cubicBezTo>
                        <a:pt x="42" y="246"/>
                        <a:pt x="31" y="227"/>
                        <a:pt x="28" y="214"/>
                      </a:cubicBezTo>
                      <a:cubicBezTo>
                        <a:pt x="26" y="207"/>
                        <a:pt x="22" y="192"/>
                        <a:pt x="22" y="192"/>
                      </a:cubicBezTo>
                      <a:cubicBezTo>
                        <a:pt x="25" y="180"/>
                        <a:pt x="33" y="182"/>
                        <a:pt x="42" y="176"/>
                      </a:cubicBezTo>
                      <a:cubicBezTo>
                        <a:pt x="44" y="169"/>
                        <a:pt x="52" y="158"/>
                        <a:pt x="52" y="158"/>
                      </a:cubicBezTo>
                      <a:cubicBezTo>
                        <a:pt x="58" y="164"/>
                        <a:pt x="63" y="166"/>
                        <a:pt x="66" y="174"/>
                      </a:cubicBezTo>
                      <a:cubicBezTo>
                        <a:pt x="59" y="178"/>
                        <a:pt x="51" y="188"/>
                        <a:pt x="44" y="190"/>
                      </a:cubicBezTo>
                      <a:cubicBezTo>
                        <a:pt x="36" y="202"/>
                        <a:pt x="46" y="202"/>
                        <a:pt x="56" y="200"/>
                      </a:cubicBezTo>
                      <a:cubicBezTo>
                        <a:pt x="60" y="189"/>
                        <a:pt x="59" y="184"/>
                        <a:pt x="68" y="178"/>
                      </a:cubicBezTo>
                      <a:cubicBezTo>
                        <a:pt x="77" y="181"/>
                        <a:pt x="75" y="187"/>
                        <a:pt x="84" y="184"/>
                      </a:cubicBezTo>
                      <a:cubicBezTo>
                        <a:pt x="92" y="171"/>
                        <a:pt x="91" y="157"/>
                        <a:pt x="104" y="148"/>
                      </a:cubicBezTo>
                      <a:cubicBezTo>
                        <a:pt x="108" y="149"/>
                        <a:pt x="110" y="155"/>
                        <a:pt x="114" y="156"/>
                      </a:cubicBezTo>
                      <a:cubicBezTo>
                        <a:pt x="120" y="158"/>
                        <a:pt x="131" y="151"/>
                        <a:pt x="136" y="148"/>
                      </a:cubicBezTo>
                      <a:cubicBezTo>
                        <a:pt x="145" y="134"/>
                        <a:pt x="142" y="141"/>
                        <a:pt x="146" y="130"/>
                      </a:cubicBezTo>
                      <a:cubicBezTo>
                        <a:pt x="146" y="127"/>
                        <a:pt x="145" y="115"/>
                        <a:pt x="142" y="110"/>
                      </a:cubicBezTo>
                      <a:cubicBezTo>
                        <a:pt x="140" y="106"/>
                        <a:pt x="134" y="98"/>
                        <a:pt x="134" y="98"/>
                      </a:cubicBezTo>
                      <a:cubicBezTo>
                        <a:pt x="131" y="78"/>
                        <a:pt x="142" y="53"/>
                        <a:pt x="122" y="40"/>
                      </a:cubicBezTo>
                      <a:cubicBezTo>
                        <a:pt x="112" y="26"/>
                        <a:pt x="109" y="10"/>
                        <a:pt x="94" y="0"/>
                      </a:cubicBezTo>
                      <a:cubicBezTo>
                        <a:pt x="87" y="4"/>
                        <a:pt x="86" y="9"/>
                        <a:pt x="78" y="12"/>
                      </a:cubicBezTo>
                      <a:cubicBezTo>
                        <a:pt x="67" y="29"/>
                        <a:pt x="80" y="31"/>
                        <a:pt x="96" y="34"/>
                      </a:cubicBezTo>
                      <a:cubicBezTo>
                        <a:pt x="103" y="44"/>
                        <a:pt x="100" y="53"/>
                        <a:pt x="96" y="64"/>
                      </a:cubicBezTo>
                      <a:cubicBezTo>
                        <a:pt x="96" y="68"/>
                        <a:pt x="95" y="106"/>
                        <a:pt x="82" y="100"/>
                      </a:cubicBezTo>
                      <a:close/>
                    </a:path>
                  </a:pathLst>
                </a:custGeom>
                <a:solidFill>
                  <a:srgbClr val="C0C0C0"/>
                </a:solidFill>
                <a:ln w="6350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>
                  <a:outerShdw dist="28398" dir="3806097" algn="ctr" rotWithShape="0">
                    <a:srgbClr val="333333">
                      <a:alpha val="50000"/>
                    </a:srgbClr>
                  </a:outerShdw>
                </a:effectLst>
              </p:spPr>
              <p:txBody>
                <a:bodyPr/>
                <a:lstStyle/>
                <a:p>
                  <a:pPr>
                    <a:defRPr/>
                  </a:pPr>
                  <a:endParaRPr lang="zh-CN" altLang="en-US"/>
                </a:p>
              </p:txBody>
            </p:sp>
            <p:sp>
              <p:nvSpPr>
                <p:cNvPr id="189" name="Freeform 95"/>
                <p:cNvSpPr>
                  <a:spLocks/>
                </p:cNvSpPr>
                <p:nvPr/>
              </p:nvSpPr>
              <p:spPr bwMode="blackWhite">
                <a:xfrm>
                  <a:off x="3062" y="1988"/>
                  <a:ext cx="54" cy="30"/>
                </a:xfrm>
                <a:custGeom>
                  <a:avLst/>
                  <a:gdLst/>
                  <a:ahLst/>
                  <a:cxnLst>
                    <a:cxn ang="0">
                      <a:pos x="59" y="0"/>
                    </a:cxn>
                    <a:cxn ang="0">
                      <a:pos x="65" y="20"/>
                    </a:cxn>
                    <a:cxn ang="0">
                      <a:pos x="41" y="24"/>
                    </a:cxn>
                    <a:cxn ang="0">
                      <a:pos x="31" y="40"/>
                    </a:cxn>
                    <a:cxn ang="0">
                      <a:pos x="7" y="38"/>
                    </a:cxn>
                    <a:cxn ang="0">
                      <a:pos x="1" y="36"/>
                    </a:cxn>
                    <a:cxn ang="0">
                      <a:pos x="33" y="20"/>
                    </a:cxn>
                    <a:cxn ang="0">
                      <a:pos x="59" y="0"/>
                    </a:cxn>
                  </a:cxnLst>
                  <a:rect l="0" t="0" r="r" b="b"/>
                  <a:pathLst>
                    <a:path w="70" h="40">
                      <a:moveTo>
                        <a:pt x="59" y="0"/>
                      </a:moveTo>
                      <a:cubicBezTo>
                        <a:pt x="68" y="3"/>
                        <a:pt x="70" y="10"/>
                        <a:pt x="65" y="20"/>
                      </a:cubicBezTo>
                      <a:cubicBezTo>
                        <a:pt x="61" y="27"/>
                        <a:pt x="49" y="23"/>
                        <a:pt x="41" y="24"/>
                      </a:cubicBezTo>
                      <a:cubicBezTo>
                        <a:pt x="36" y="38"/>
                        <a:pt x="41" y="34"/>
                        <a:pt x="31" y="40"/>
                      </a:cubicBezTo>
                      <a:cubicBezTo>
                        <a:pt x="23" y="39"/>
                        <a:pt x="15" y="39"/>
                        <a:pt x="7" y="38"/>
                      </a:cubicBezTo>
                      <a:cubicBezTo>
                        <a:pt x="5" y="38"/>
                        <a:pt x="0" y="38"/>
                        <a:pt x="1" y="36"/>
                      </a:cubicBezTo>
                      <a:cubicBezTo>
                        <a:pt x="7" y="26"/>
                        <a:pt x="23" y="23"/>
                        <a:pt x="33" y="20"/>
                      </a:cubicBezTo>
                      <a:cubicBezTo>
                        <a:pt x="39" y="11"/>
                        <a:pt x="51" y="8"/>
                        <a:pt x="59" y="0"/>
                      </a:cubicBezTo>
                      <a:close/>
                    </a:path>
                  </a:pathLst>
                </a:custGeom>
                <a:solidFill>
                  <a:srgbClr val="C0C0C0"/>
                </a:solidFill>
                <a:ln w="6350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>
                  <a:outerShdw dist="28398" dir="3806097" algn="ctr" rotWithShape="0">
                    <a:srgbClr val="333333">
                      <a:alpha val="50000"/>
                    </a:srgbClr>
                  </a:outerShdw>
                </a:effectLst>
              </p:spPr>
              <p:txBody>
                <a:bodyPr/>
                <a:lstStyle/>
                <a:p>
                  <a:pPr>
                    <a:defRPr/>
                  </a:pPr>
                  <a:endParaRPr lang="zh-CN" altLang="en-US"/>
                </a:p>
              </p:txBody>
            </p:sp>
            <p:sp>
              <p:nvSpPr>
                <p:cNvPr id="190" name="Freeform 96"/>
                <p:cNvSpPr>
                  <a:spLocks/>
                </p:cNvSpPr>
                <p:nvPr/>
              </p:nvSpPr>
              <p:spPr bwMode="blackWhite">
                <a:xfrm>
                  <a:off x="2955" y="1997"/>
                  <a:ext cx="19" cy="22"/>
                </a:xfrm>
                <a:custGeom>
                  <a:avLst/>
                  <a:gdLst/>
                  <a:ahLst/>
                  <a:cxnLst>
                    <a:cxn ang="0">
                      <a:pos x="18" y="0"/>
                    </a:cxn>
                    <a:cxn ang="0">
                      <a:pos x="0" y="18"/>
                    </a:cxn>
                    <a:cxn ang="0">
                      <a:pos x="18" y="26"/>
                    </a:cxn>
                    <a:cxn ang="0">
                      <a:pos x="18" y="0"/>
                    </a:cxn>
                  </a:cxnLst>
                  <a:rect l="0" t="0" r="r" b="b"/>
                  <a:pathLst>
                    <a:path w="26" h="29">
                      <a:moveTo>
                        <a:pt x="18" y="0"/>
                      </a:moveTo>
                      <a:cubicBezTo>
                        <a:pt x="9" y="6"/>
                        <a:pt x="4" y="7"/>
                        <a:pt x="0" y="18"/>
                      </a:cubicBezTo>
                      <a:cubicBezTo>
                        <a:pt x="7" y="25"/>
                        <a:pt x="9" y="29"/>
                        <a:pt x="18" y="26"/>
                      </a:cubicBezTo>
                      <a:cubicBezTo>
                        <a:pt x="22" y="14"/>
                        <a:pt x="26" y="12"/>
                        <a:pt x="18" y="0"/>
                      </a:cubicBezTo>
                      <a:close/>
                    </a:path>
                  </a:pathLst>
                </a:custGeom>
                <a:solidFill>
                  <a:srgbClr val="C0C0C0"/>
                </a:solidFill>
                <a:ln w="6350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>
                  <a:outerShdw dist="28398" dir="3806097" algn="ctr" rotWithShape="0">
                    <a:srgbClr val="333333">
                      <a:alpha val="50000"/>
                    </a:srgbClr>
                  </a:outerShdw>
                </a:effectLst>
              </p:spPr>
              <p:txBody>
                <a:bodyPr/>
                <a:lstStyle/>
                <a:p>
                  <a:pPr>
                    <a:defRPr/>
                  </a:pPr>
                  <a:endParaRPr lang="zh-CN" altLang="en-US"/>
                </a:p>
              </p:txBody>
            </p:sp>
            <p:sp>
              <p:nvSpPr>
                <p:cNvPr id="191" name="Freeform 97"/>
                <p:cNvSpPr>
                  <a:spLocks/>
                </p:cNvSpPr>
                <p:nvPr/>
              </p:nvSpPr>
              <p:spPr bwMode="blackWhite">
                <a:xfrm>
                  <a:off x="2979" y="1996"/>
                  <a:ext cx="37" cy="27"/>
                </a:xfrm>
                <a:custGeom>
                  <a:avLst/>
                  <a:gdLst/>
                  <a:ahLst/>
                  <a:cxnLst>
                    <a:cxn ang="0">
                      <a:pos x="14" y="6"/>
                    </a:cxn>
                    <a:cxn ang="0">
                      <a:pos x="0" y="18"/>
                    </a:cxn>
                    <a:cxn ang="0">
                      <a:pos x="6" y="32"/>
                    </a:cxn>
                    <a:cxn ang="0">
                      <a:pos x="18" y="36"/>
                    </a:cxn>
                    <a:cxn ang="0">
                      <a:pos x="40" y="26"/>
                    </a:cxn>
                    <a:cxn ang="0">
                      <a:pos x="14" y="6"/>
                    </a:cxn>
                  </a:cxnLst>
                  <a:rect l="0" t="0" r="r" b="b"/>
                  <a:pathLst>
                    <a:path w="49" h="36">
                      <a:moveTo>
                        <a:pt x="14" y="6"/>
                      </a:moveTo>
                      <a:cubicBezTo>
                        <a:pt x="11" y="14"/>
                        <a:pt x="7" y="13"/>
                        <a:pt x="0" y="18"/>
                      </a:cubicBezTo>
                      <a:cubicBezTo>
                        <a:pt x="1" y="22"/>
                        <a:pt x="2" y="29"/>
                        <a:pt x="6" y="32"/>
                      </a:cubicBezTo>
                      <a:cubicBezTo>
                        <a:pt x="10" y="34"/>
                        <a:pt x="18" y="36"/>
                        <a:pt x="18" y="36"/>
                      </a:cubicBezTo>
                      <a:cubicBezTo>
                        <a:pt x="24" y="27"/>
                        <a:pt x="30" y="28"/>
                        <a:pt x="40" y="26"/>
                      </a:cubicBezTo>
                      <a:cubicBezTo>
                        <a:pt x="49" y="0"/>
                        <a:pt x="26" y="18"/>
                        <a:pt x="14" y="6"/>
                      </a:cubicBezTo>
                      <a:close/>
                    </a:path>
                  </a:pathLst>
                </a:custGeom>
                <a:solidFill>
                  <a:srgbClr val="C0C0C0"/>
                </a:solidFill>
                <a:ln w="6350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>
                  <a:outerShdw dist="28398" dir="3806097" algn="ctr" rotWithShape="0">
                    <a:srgbClr val="333333">
                      <a:alpha val="50000"/>
                    </a:srgbClr>
                  </a:outerShdw>
                </a:effectLst>
              </p:spPr>
              <p:txBody>
                <a:bodyPr/>
                <a:lstStyle/>
                <a:p>
                  <a:pPr>
                    <a:defRPr/>
                  </a:pPr>
                  <a:endParaRPr lang="zh-CN" altLang="en-US"/>
                </a:p>
              </p:txBody>
            </p:sp>
            <p:sp>
              <p:nvSpPr>
                <p:cNvPr id="192" name="Freeform 98"/>
                <p:cNvSpPr>
                  <a:spLocks/>
                </p:cNvSpPr>
                <p:nvPr/>
              </p:nvSpPr>
              <p:spPr bwMode="blackWhite">
                <a:xfrm>
                  <a:off x="3040" y="1987"/>
                  <a:ext cx="19" cy="17"/>
                </a:xfrm>
                <a:custGeom>
                  <a:avLst/>
                  <a:gdLst/>
                  <a:ahLst/>
                  <a:cxnLst>
                    <a:cxn ang="0">
                      <a:pos x="11" y="0"/>
                    </a:cxn>
                    <a:cxn ang="0">
                      <a:pos x="3" y="12"/>
                    </a:cxn>
                    <a:cxn ang="0">
                      <a:pos x="19" y="22"/>
                    </a:cxn>
                    <a:cxn ang="0">
                      <a:pos x="11" y="0"/>
                    </a:cxn>
                  </a:cxnLst>
                  <a:rect l="0" t="0" r="r" b="b"/>
                  <a:pathLst>
                    <a:path w="27" h="22">
                      <a:moveTo>
                        <a:pt x="11" y="0"/>
                      </a:moveTo>
                      <a:cubicBezTo>
                        <a:pt x="8" y="4"/>
                        <a:pt x="0" y="8"/>
                        <a:pt x="3" y="12"/>
                      </a:cubicBezTo>
                      <a:cubicBezTo>
                        <a:pt x="6" y="17"/>
                        <a:pt x="19" y="22"/>
                        <a:pt x="19" y="22"/>
                      </a:cubicBezTo>
                      <a:cubicBezTo>
                        <a:pt x="27" y="10"/>
                        <a:pt x="15" y="11"/>
                        <a:pt x="11" y="0"/>
                      </a:cubicBezTo>
                      <a:close/>
                    </a:path>
                  </a:pathLst>
                </a:custGeom>
                <a:solidFill>
                  <a:srgbClr val="C0C0C0"/>
                </a:solidFill>
                <a:ln w="6350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>
                  <a:outerShdw dist="28398" dir="3806097" algn="ctr" rotWithShape="0">
                    <a:srgbClr val="333333">
                      <a:alpha val="50000"/>
                    </a:srgbClr>
                  </a:outerShdw>
                </a:effectLst>
              </p:spPr>
              <p:txBody>
                <a:bodyPr/>
                <a:lstStyle/>
                <a:p>
                  <a:pPr>
                    <a:defRPr/>
                  </a:pPr>
                  <a:endParaRPr lang="zh-CN" altLang="en-US"/>
                </a:p>
              </p:txBody>
            </p:sp>
            <p:sp>
              <p:nvSpPr>
                <p:cNvPr id="193" name="Freeform 99"/>
                <p:cNvSpPr>
                  <a:spLocks/>
                </p:cNvSpPr>
                <p:nvPr/>
              </p:nvSpPr>
              <p:spPr bwMode="blackWhite">
                <a:xfrm>
                  <a:off x="3023" y="2005"/>
                  <a:ext cx="16" cy="13"/>
                </a:xfrm>
                <a:custGeom>
                  <a:avLst/>
                  <a:gdLst/>
                  <a:ahLst/>
                  <a:cxnLst>
                    <a:cxn ang="0">
                      <a:pos x="11" y="0"/>
                    </a:cxn>
                    <a:cxn ang="0">
                      <a:pos x="9" y="18"/>
                    </a:cxn>
                    <a:cxn ang="0">
                      <a:pos x="11" y="0"/>
                    </a:cxn>
                  </a:cxnLst>
                  <a:rect l="0" t="0" r="r" b="b"/>
                  <a:pathLst>
                    <a:path w="20" h="18">
                      <a:moveTo>
                        <a:pt x="11" y="0"/>
                      </a:moveTo>
                      <a:cubicBezTo>
                        <a:pt x="1" y="14"/>
                        <a:pt x="0" y="9"/>
                        <a:pt x="9" y="18"/>
                      </a:cubicBezTo>
                      <a:cubicBezTo>
                        <a:pt x="20" y="14"/>
                        <a:pt x="16" y="18"/>
                        <a:pt x="11" y="0"/>
                      </a:cubicBezTo>
                      <a:close/>
                    </a:path>
                  </a:pathLst>
                </a:custGeom>
                <a:solidFill>
                  <a:srgbClr val="C0C0C0"/>
                </a:solidFill>
                <a:ln w="6350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>
                  <a:outerShdw dist="28398" dir="3806097" algn="ctr" rotWithShape="0">
                    <a:srgbClr val="333333">
                      <a:alpha val="50000"/>
                    </a:srgbClr>
                  </a:outerShdw>
                </a:effectLst>
              </p:spPr>
              <p:txBody>
                <a:bodyPr/>
                <a:lstStyle/>
                <a:p>
                  <a:pPr>
                    <a:defRPr/>
                  </a:pPr>
                  <a:endParaRPr lang="zh-CN" altLang="en-US"/>
                </a:p>
              </p:txBody>
            </p:sp>
            <p:sp>
              <p:nvSpPr>
                <p:cNvPr id="194" name="Freeform 100"/>
                <p:cNvSpPr>
                  <a:spLocks/>
                </p:cNvSpPr>
                <p:nvPr/>
              </p:nvSpPr>
              <p:spPr bwMode="blackWhite">
                <a:xfrm>
                  <a:off x="4162" y="2021"/>
                  <a:ext cx="18" cy="31"/>
                </a:xfrm>
                <a:custGeom>
                  <a:avLst/>
                  <a:gdLst/>
                  <a:ahLst/>
                  <a:cxnLst>
                    <a:cxn ang="0">
                      <a:pos x="24" y="0"/>
                    </a:cxn>
                    <a:cxn ang="0">
                      <a:pos x="8" y="16"/>
                    </a:cxn>
                    <a:cxn ang="0">
                      <a:pos x="0" y="34"/>
                    </a:cxn>
                    <a:cxn ang="0">
                      <a:pos x="16" y="40"/>
                    </a:cxn>
                    <a:cxn ang="0">
                      <a:pos x="24" y="0"/>
                    </a:cxn>
                  </a:cxnLst>
                  <a:rect l="0" t="0" r="r" b="b"/>
                  <a:pathLst>
                    <a:path w="24" h="44">
                      <a:moveTo>
                        <a:pt x="24" y="0"/>
                      </a:moveTo>
                      <a:cubicBezTo>
                        <a:pt x="19" y="7"/>
                        <a:pt x="15" y="11"/>
                        <a:pt x="8" y="16"/>
                      </a:cubicBezTo>
                      <a:cubicBezTo>
                        <a:pt x="4" y="21"/>
                        <a:pt x="0" y="34"/>
                        <a:pt x="0" y="34"/>
                      </a:cubicBezTo>
                      <a:cubicBezTo>
                        <a:pt x="3" y="44"/>
                        <a:pt x="7" y="42"/>
                        <a:pt x="16" y="40"/>
                      </a:cubicBezTo>
                      <a:cubicBezTo>
                        <a:pt x="20" y="27"/>
                        <a:pt x="24" y="14"/>
                        <a:pt x="24" y="0"/>
                      </a:cubicBezTo>
                      <a:close/>
                    </a:path>
                  </a:pathLst>
                </a:custGeom>
                <a:solidFill>
                  <a:srgbClr val="C0C0C0"/>
                </a:solidFill>
                <a:ln w="6350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>
                  <a:outerShdw dist="28398" dir="3806097" algn="ctr" rotWithShape="0">
                    <a:srgbClr val="333333">
                      <a:alpha val="50000"/>
                    </a:srgbClr>
                  </a:outerShdw>
                </a:effectLst>
              </p:spPr>
              <p:txBody>
                <a:bodyPr/>
                <a:lstStyle/>
                <a:p>
                  <a:pPr>
                    <a:defRPr/>
                  </a:pPr>
                  <a:endParaRPr lang="zh-CN" altLang="en-US"/>
                </a:p>
              </p:txBody>
            </p:sp>
            <p:sp>
              <p:nvSpPr>
                <p:cNvPr id="195" name="Freeform 101"/>
                <p:cNvSpPr>
                  <a:spLocks/>
                </p:cNvSpPr>
                <p:nvPr/>
              </p:nvSpPr>
              <p:spPr bwMode="blackWhite">
                <a:xfrm>
                  <a:off x="3279" y="3473"/>
                  <a:ext cx="30" cy="18"/>
                </a:xfrm>
                <a:custGeom>
                  <a:avLst/>
                  <a:gdLst/>
                  <a:ahLst/>
                  <a:cxnLst>
                    <a:cxn ang="0">
                      <a:pos x="30" y="0"/>
                    </a:cxn>
                    <a:cxn ang="0">
                      <a:pos x="26" y="24"/>
                    </a:cxn>
                    <a:cxn ang="0">
                      <a:pos x="30" y="0"/>
                    </a:cxn>
                  </a:cxnLst>
                  <a:rect l="0" t="0" r="r" b="b"/>
                  <a:pathLst>
                    <a:path w="41" h="24">
                      <a:moveTo>
                        <a:pt x="30" y="0"/>
                      </a:moveTo>
                      <a:cubicBezTo>
                        <a:pt x="4" y="4"/>
                        <a:pt x="0" y="17"/>
                        <a:pt x="26" y="24"/>
                      </a:cubicBezTo>
                      <a:cubicBezTo>
                        <a:pt x="41" y="19"/>
                        <a:pt x="38" y="10"/>
                        <a:pt x="30" y="0"/>
                      </a:cubicBezTo>
                      <a:close/>
                    </a:path>
                  </a:pathLst>
                </a:custGeom>
                <a:solidFill>
                  <a:srgbClr val="C0C0C0"/>
                </a:solidFill>
                <a:ln w="6350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>
                  <a:outerShdw dist="28398" dir="3806097" algn="ctr" rotWithShape="0">
                    <a:srgbClr val="333333">
                      <a:alpha val="50000"/>
                    </a:srgbClr>
                  </a:outerShdw>
                </a:effectLst>
              </p:spPr>
              <p:txBody>
                <a:bodyPr/>
                <a:lstStyle/>
                <a:p>
                  <a:pPr>
                    <a:defRPr/>
                  </a:pPr>
                  <a:endParaRPr lang="zh-CN" altLang="en-US"/>
                </a:p>
              </p:txBody>
            </p:sp>
            <p:sp>
              <p:nvSpPr>
                <p:cNvPr id="196" name="Freeform 102"/>
                <p:cNvSpPr>
                  <a:spLocks/>
                </p:cNvSpPr>
                <p:nvPr/>
              </p:nvSpPr>
              <p:spPr bwMode="blackWhite">
                <a:xfrm>
                  <a:off x="3318" y="3466"/>
                  <a:ext cx="10" cy="15"/>
                </a:xfrm>
                <a:custGeom>
                  <a:avLst/>
                  <a:gdLst/>
                  <a:ahLst/>
                  <a:cxnLst>
                    <a:cxn ang="0">
                      <a:pos x="10" y="5"/>
                    </a:cxn>
                    <a:cxn ang="0">
                      <a:pos x="1" y="11"/>
                    </a:cxn>
                    <a:cxn ang="0">
                      <a:pos x="9" y="20"/>
                    </a:cxn>
                    <a:cxn ang="0">
                      <a:pos x="10" y="5"/>
                    </a:cxn>
                  </a:cxnLst>
                  <a:rect l="0" t="0" r="r" b="b"/>
                  <a:pathLst>
                    <a:path w="13" h="20">
                      <a:moveTo>
                        <a:pt x="10" y="5"/>
                      </a:moveTo>
                      <a:cubicBezTo>
                        <a:pt x="3" y="0"/>
                        <a:pt x="5" y="6"/>
                        <a:pt x="1" y="11"/>
                      </a:cubicBezTo>
                      <a:cubicBezTo>
                        <a:pt x="0" y="18"/>
                        <a:pt x="2" y="19"/>
                        <a:pt x="9" y="20"/>
                      </a:cubicBezTo>
                      <a:cubicBezTo>
                        <a:pt x="13" y="14"/>
                        <a:pt x="10" y="12"/>
                        <a:pt x="10" y="5"/>
                      </a:cubicBezTo>
                      <a:close/>
                    </a:path>
                  </a:pathLst>
                </a:custGeom>
                <a:solidFill>
                  <a:srgbClr val="C0C0C0"/>
                </a:solidFill>
                <a:ln w="6350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>
                  <a:outerShdw dist="28398" dir="3806097" algn="ctr" rotWithShape="0">
                    <a:srgbClr val="333333">
                      <a:alpha val="50000"/>
                    </a:srgbClr>
                  </a:outerShdw>
                </a:effectLst>
              </p:spPr>
              <p:txBody>
                <a:bodyPr/>
                <a:lstStyle/>
                <a:p>
                  <a:pPr>
                    <a:defRPr/>
                  </a:pPr>
                  <a:endParaRPr lang="zh-CN" altLang="en-US"/>
                </a:p>
              </p:txBody>
            </p:sp>
            <p:sp>
              <p:nvSpPr>
                <p:cNvPr id="197" name="Freeform 103"/>
                <p:cNvSpPr>
                  <a:spLocks/>
                </p:cNvSpPr>
                <p:nvPr/>
              </p:nvSpPr>
              <p:spPr bwMode="blackWhite">
                <a:xfrm>
                  <a:off x="3251" y="3312"/>
                  <a:ext cx="9" cy="17"/>
                </a:xfrm>
                <a:custGeom>
                  <a:avLst/>
                  <a:gdLst/>
                  <a:ahLst/>
                  <a:cxnLst>
                    <a:cxn ang="0">
                      <a:pos x="10" y="5"/>
                    </a:cxn>
                    <a:cxn ang="0">
                      <a:pos x="1" y="11"/>
                    </a:cxn>
                    <a:cxn ang="0">
                      <a:pos x="9" y="20"/>
                    </a:cxn>
                    <a:cxn ang="0">
                      <a:pos x="10" y="5"/>
                    </a:cxn>
                  </a:cxnLst>
                  <a:rect l="0" t="0" r="r" b="b"/>
                  <a:pathLst>
                    <a:path w="13" h="20">
                      <a:moveTo>
                        <a:pt x="10" y="5"/>
                      </a:moveTo>
                      <a:cubicBezTo>
                        <a:pt x="3" y="0"/>
                        <a:pt x="5" y="6"/>
                        <a:pt x="1" y="11"/>
                      </a:cubicBezTo>
                      <a:cubicBezTo>
                        <a:pt x="0" y="18"/>
                        <a:pt x="2" y="19"/>
                        <a:pt x="9" y="20"/>
                      </a:cubicBezTo>
                      <a:cubicBezTo>
                        <a:pt x="13" y="14"/>
                        <a:pt x="10" y="12"/>
                        <a:pt x="10" y="5"/>
                      </a:cubicBezTo>
                      <a:close/>
                    </a:path>
                  </a:pathLst>
                </a:custGeom>
                <a:solidFill>
                  <a:srgbClr val="C0C0C0"/>
                </a:solidFill>
                <a:ln w="6350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>
                  <a:outerShdw dist="28398" dir="3806097" algn="ctr" rotWithShape="0">
                    <a:srgbClr val="333333">
                      <a:alpha val="50000"/>
                    </a:srgbClr>
                  </a:outerShdw>
                </a:effectLst>
              </p:spPr>
              <p:txBody>
                <a:bodyPr/>
                <a:lstStyle/>
                <a:p>
                  <a:pPr>
                    <a:defRPr/>
                  </a:pPr>
                  <a:endParaRPr lang="zh-CN" altLang="en-US"/>
                </a:p>
              </p:txBody>
            </p:sp>
            <p:sp>
              <p:nvSpPr>
                <p:cNvPr id="198" name="Freeform 104"/>
                <p:cNvSpPr>
                  <a:spLocks/>
                </p:cNvSpPr>
                <p:nvPr/>
              </p:nvSpPr>
              <p:spPr bwMode="blackWhite">
                <a:xfrm>
                  <a:off x="3311" y="3239"/>
                  <a:ext cx="11" cy="19"/>
                </a:xfrm>
                <a:custGeom>
                  <a:avLst/>
                  <a:gdLst/>
                  <a:ahLst/>
                  <a:cxnLst>
                    <a:cxn ang="0">
                      <a:pos x="6" y="0"/>
                    </a:cxn>
                    <a:cxn ang="0">
                      <a:pos x="0" y="13"/>
                    </a:cxn>
                    <a:cxn ang="0">
                      <a:pos x="12" y="24"/>
                    </a:cxn>
                    <a:cxn ang="0">
                      <a:pos x="6" y="0"/>
                    </a:cxn>
                  </a:cxnLst>
                  <a:rect l="0" t="0" r="r" b="b"/>
                  <a:pathLst>
                    <a:path w="14" h="25">
                      <a:moveTo>
                        <a:pt x="6" y="0"/>
                      </a:moveTo>
                      <a:cubicBezTo>
                        <a:pt x="4" y="5"/>
                        <a:pt x="3" y="9"/>
                        <a:pt x="0" y="13"/>
                      </a:cubicBezTo>
                      <a:cubicBezTo>
                        <a:pt x="1" y="24"/>
                        <a:pt x="1" y="25"/>
                        <a:pt x="12" y="24"/>
                      </a:cubicBezTo>
                      <a:cubicBezTo>
                        <a:pt x="14" y="12"/>
                        <a:pt x="8" y="10"/>
                        <a:pt x="6" y="0"/>
                      </a:cubicBezTo>
                      <a:close/>
                    </a:path>
                  </a:pathLst>
                </a:custGeom>
                <a:solidFill>
                  <a:srgbClr val="C0C0C0"/>
                </a:solidFill>
                <a:ln w="6350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>
                  <a:outerShdw dist="28398" dir="3806097" algn="ctr" rotWithShape="0">
                    <a:srgbClr val="333333">
                      <a:alpha val="50000"/>
                    </a:srgbClr>
                  </a:outerShdw>
                </a:effectLst>
              </p:spPr>
              <p:txBody>
                <a:bodyPr/>
                <a:lstStyle/>
                <a:p>
                  <a:pPr>
                    <a:defRPr/>
                  </a:pPr>
                  <a:endParaRPr lang="zh-CN" altLang="en-US"/>
                </a:p>
              </p:txBody>
            </p:sp>
            <p:sp>
              <p:nvSpPr>
                <p:cNvPr id="199" name="Freeform 105"/>
                <p:cNvSpPr>
                  <a:spLocks/>
                </p:cNvSpPr>
                <p:nvPr/>
              </p:nvSpPr>
              <p:spPr bwMode="blackWhite">
                <a:xfrm>
                  <a:off x="3287" y="3238"/>
                  <a:ext cx="10" cy="19"/>
                </a:xfrm>
                <a:custGeom>
                  <a:avLst/>
                  <a:gdLst/>
                  <a:ahLst/>
                  <a:cxnLst>
                    <a:cxn ang="0">
                      <a:pos x="6" y="0"/>
                    </a:cxn>
                    <a:cxn ang="0">
                      <a:pos x="0" y="13"/>
                    </a:cxn>
                    <a:cxn ang="0">
                      <a:pos x="12" y="24"/>
                    </a:cxn>
                    <a:cxn ang="0">
                      <a:pos x="6" y="0"/>
                    </a:cxn>
                  </a:cxnLst>
                  <a:rect l="0" t="0" r="r" b="b"/>
                  <a:pathLst>
                    <a:path w="14" h="25">
                      <a:moveTo>
                        <a:pt x="6" y="0"/>
                      </a:moveTo>
                      <a:cubicBezTo>
                        <a:pt x="4" y="5"/>
                        <a:pt x="3" y="9"/>
                        <a:pt x="0" y="13"/>
                      </a:cubicBezTo>
                      <a:cubicBezTo>
                        <a:pt x="1" y="24"/>
                        <a:pt x="1" y="25"/>
                        <a:pt x="12" y="24"/>
                      </a:cubicBezTo>
                      <a:cubicBezTo>
                        <a:pt x="14" y="12"/>
                        <a:pt x="8" y="10"/>
                        <a:pt x="6" y="0"/>
                      </a:cubicBezTo>
                      <a:close/>
                    </a:path>
                  </a:pathLst>
                </a:custGeom>
                <a:solidFill>
                  <a:srgbClr val="C0C0C0"/>
                </a:solidFill>
                <a:ln w="6350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>
                  <a:outerShdw dist="28398" dir="3806097" algn="ctr" rotWithShape="0">
                    <a:srgbClr val="333333">
                      <a:alpha val="50000"/>
                    </a:srgbClr>
                  </a:outerShdw>
                </a:effectLst>
              </p:spPr>
              <p:txBody>
                <a:bodyPr/>
                <a:lstStyle/>
                <a:p>
                  <a:pPr>
                    <a:defRPr/>
                  </a:pPr>
                  <a:endParaRPr lang="zh-CN" altLang="en-US"/>
                </a:p>
              </p:txBody>
            </p:sp>
            <p:sp>
              <p:nvSpPr>
                <p:cNvPr id="200" name="Freeform 106"/>
                <p:cNvSpPr>
                  <a:spLocks/>
                </p:cNvSpPr>
                <p:nvPr/>
              </p:nvSpPr>
              <p:spPr bwMode="blackWhite">
                <a:xfrm>
                  <a:off x="3276" y="3260"/>
                  <a:ext cx="10" cy="15"/>
                </a:xfrm>
                <a:custGeom>
                  <a:avLst/>
                  <a:gdLst/>
                  <a:ahLst/>
                  <a:cxnLst>
                    <a:cxn ang="0">
                      <a:pos x="10" y="5"/>
                    </a:cxn>
                    <a:cxn ang="0">
                      <a:pos x="1" y="11"/>
                    </a:cxn>
                    <a:cxn ang="0">
                      <a:pos x="9" y="20"/>
                    </a:cxn>
                    <a:cxn ang="0">
                      <a:pos x="10" y="5"/>
                    </a:cxn>
                  </a:cxnLst>
                  <a:rect l="0" t="0" r="r" b="b"/>
                  <a:pathLst>
                    <a:path w="13" h="20">
                      <a:moveTo>
                        <a:pt x="10" y="5"/>
                      </a:moveTo>
                      <a:cubicBezTo>
                        <a:pt x="3" y="0"/>
                        <a:pt x="5" y="6"/>
                        <a:pt x="1" y="11"/>
                      </a:cubicBezTo>
                      <a:cubicBezTo>
                        <a:pt x="0" y="18"/>
                        <a:pt x="2" y="19"/>
                        <a:pt x="9" y="20"/>
                      </a:cubicBezTo>
                      <a:cubicBezTo>
                        <a:pt x="13" y="14"/>
                        <a:pt x="10" y="12"/>
                        <a:pt x="10" y="5"/>
                      </a:cubicBezTo>
                      <a:close/>
                    </a:path>
                  </a:pathLst>
                </a:custGeom>
                <a:solidFill>
                  <a:srgbClr val="C0C0C0"/>
                </a:solidFill>
                <a:ln w="6350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>
                  <a:outerShdw dist="28398" dir="3806097" algn="ctr" rotWithShape="0">
                    <a:srgbClr val="333333">
                      <a:alpha val="50000"/>
                    </a:srgbClr>
                  </a:outerShdw>
                </a:effectLst>
              </p:spPr>
              <p:txBody>
                <a:bodyPr/>
                <a:lstStyle/>
                <a:p>
                  <a:pPr>
                    <a:defRPr/>
                  </a:pPr>
                  <a:endParaRPr lang="zh-CN" altLang="en-US"/>
                </a:p>
              </p:txBody>
            </p:sp>
            <p:sp>
              <p:nvSpPr>
                <p:cNvPr id="201" name="Freeform 107"/>
                <p:cNvSpPr>
                  <a:spLocks/>
                </p:cNvSpPr>
                <p:nvPr/>
              </p:nvSpPr>
              <p:spPr bwMode="blackWhite">
                <a:xfrm>
                  <a:off x="3251" y="3294"/>
                  <a:ext cx="9" cy="16"/>
                </a:xfrm>
                <a:custGeom>
                  <a:avLst/>
                  <a:gdLst/>
                  <a:ahLst/>
                  <a:cxnLst>
                    <a:cxn ang="0">
                      <a:pos x="10" y="5"/>
                    </a:cxn>
                    <a:cxn ang="0">
                      <a:pos x="1" y="11"/>
                    </a:cxn>
                    <a:cxn ang="0">
                      <a:pos x="9" y="20"/>
                    </a:cxn>
                    <a:cxn ang="0">
                      <a:pos x="10" y="5"/>
                    </a:cxn>
                  </a:cxnLst>
                  <a:rect l="0" t="0" r="r" b="b"/>
                  <a:pathLst>
                    <a:path w="13" h="20">
                      <a:moveTo>
                        <a:pt x="10" y="5"/>
                      </a:moveTo>
                      <a:cubicBezTo>
                        <a:pt x="3" y="0"/>
                        <a:pt x="5" y="6"/>
                        <a:pt x="1" y="11"/>
                      </a:cubicBezTo>
                      <a:cubicBezTo>
                        <a:pt x="0" y="18"/>
                        <a:pt x="2" y="19"/>
                        <a:pt x="9" y="20"/>
                      </a:cubicBezTo>
                      <a:cubicBezTo>
                        <a:pt x="13" y="14"/>
                        <a:pt x="10" y="12"/>
                        <a:pt x="10" y="5"/>
                      </a:cubicBezTo>
                      <a:close/>
                    </a:path>
                  </a:pathLst>
                </a:custGeom>
                <a:solidFill>
                  <a:srgbClr val="C0C0C0"/>
                </a:solidFill>
                <a:ln w="6350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>
                  <a:outerShdw dist="28398" dir="3806097" algn="ctr" rotWithShape="0">
                    <a:srgbClr val="333333">
                      <a:alpha val="50000"/>
                    </a:srgbClr>
                  </a:outerShdw>
                </a:effectLst>
              </p:spPr>
              <p:txBody>
                <a:bodyPr/>
                <a:lstStyle/>
                <a:p>
                  <a:pPr>
                    <a:defRPr/>
                  </a:pPr>
                  <a:endParaRPr lang="zh-CN" altLang="en-US"/>
                </a:p>
              </p:txBody>
            </p:sp>
            <p:sp>
              <p:nvSpPr>
                <p:cNvPr id="202" name="Freeform 108"/>
                <p:cNvSpPr>
                  <a:spLocks/>
                </p:cNvSpPr>
                <p:nvPr/>
              </p:nvSpPr>
              <p:spPr bwMode="blackWhite">
                <a:xfrm>
                  <a:off x="3270" y="3280"/>
                  <a:ext cx="10" cy="16"/>
                </a:xfrm>
                <a:custGeom>
                  <a:avLst/>
                  <a:gdLst/>
                  <a:ahLst/>
                  <a:cxnLst>
                    <a:cxn ang="0">
                      <a:pos x="10" y="5"/>
                    </a:cxn>
                    <a:cxn ang="0">
                      <a:pos x="1" y="11"/>
                    </a:cxn>
                    <a:cxn ang="0">
                      <a:pos x="9" y="20"/>
                    </a:cxn>
                    <a:cxn ang="0">
                      <a:pos x="10" y="5"/>
                    </a:cxn>
                  </a:cxnLst>
                  <a:rect l="0" t="0" r="r" b="b"/>
                  <a:pathLst>
                    <a:path w="13" h="20">
                      <a:moveTo>
                        <a:pt x="10" y="5"/>
                      </a:moveTo>
                      <a:cubicBezTo>
                        <a:pt x="3" y="0"/>
                        <a:pt x="5" y="6"/>
                        <a:pt x="1" y="11"/>
                      </a:cubicBezTo>
                      <a:cubicBezTo>
                        <a:pt x="0" y="18"/>
                        <a:pt x="2" y="19"/>
                        <a:pt x="9" y="20"/>
                      </a:cubicBezTo>
                      <a:cubicBezTo>
                        <a:pt x="13" y="14"/>
                        <a:pt x="10" y="12"/>
                        <a:pt x="10" y="5"/>
                      </a:cubicBezTo>
                      <a:close/>
                    </a:path>
                  </a:pathLst>
                </a:custGeom>
                <a:solidFill>
                  <a:srgbClr val="C0C0C0"/>
                </a:solidFill>
                <a:ln w="6350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>
                  <a:outerShdw dist="28398" dir="3806097" algn="ctr" rotWithShape="0">
                    <a:srgbClr val="333333">
                      <a:alpha val="50000"/>
                    </a:srgbClr>
                  </a:outerShdw>
                </a:effectLst>
              </p:spPr>
              <p:txBody>
                <a:bodyPr/>
                <a:lstStyle/>
                <a:p>
                  <a:pPr>
                    <a:defRPr/>
                  </a:pPr>
                  <a:endParaRPr lang="zh-CN" altLang="en-US"/>
                </a:p>
              </p:txBody>
            </p:sp>
            <p:sp>
              <p:nvSpPr>
                <p:cNvPr id="203" name="Freeform 109"/>
                <p:cNvSpPr>
                  <a:spLocks/>
                </p:cNvSpPr>
                <p:nvPr/>
              </p:nvSpPr>
              <p:spPr bwMode="blackWhite">
                <a:xfrm>
                  <a:off x="2537" y="2293"/>
                  <a:ext cx="10" cy="15"/>
                </a:xfrm>
                <a:custGeom>
                  <a:avLst/>
                  <a:gdLst/>
                  <a:ahLst/>
                  <a:cxnLst>
                    <a:cxn ang="0">
                      <a:pos x="10" y="5"/>
                    </a:cxn>
                    <a:cxn ang="0">
                      <a:pos x="1" y="11"/>
                    </a:cxn>
                    <a:cxn ang="0">
                      <a:pos x="9" y="20"/>
                    </a:cxn>
                    <a:cxn ang="0">
                      <a:pos x="10" y="5"/>
                    </a:cxn>
                  </a:cxnLst>
                  <a:rect l="0" t="0" r="r" b="b"/>
                  <a:pathLst>
                    <a:path w="13" h="20">
                      <a:moveTo>
                        <a:pt x="10" y="5"/>
                      </a:moveTo>
                      <a:cubicBezTo>
                        <a:pt x="3" y="0"/>
                        <a:pt x="5" y="6"/>
                        <a:pt x="1" y="11"/>
                      </a:cubicBezTo>
                      <a:cubicBezTo>
                        <a:pt x="0" y="18"/>
                        <a:pt x="2" y="19"/>
                        <a:pt x="9" y="20"/>
                      </a:cubicBezTo>
                      <a:cubicBezTo>
                        <a:pt x="13" y="14"/>
                        <a:pt x="10" y="12"/>
                        <a:pt x="10" y="5"/>
                      </a:cubicBezTo>
                      <a:close/>
                    </a:path>
                  </a:pathLst>
                </a:custGeom>
                <a:solidFill>
                  <a:srgbClr val="C0C0C0"/>
                </a:solidFill>
                <a:ln w="6350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>
                  <a:outerShdw dist="28398" dir="3806097" algn="ctr" rotWithShape="0">
                    <a:srgbClr val="333333">
                      <a:alpha val="50000"/>
                    </a:srgbClr>
                  </a:outerShdw>
                </a:effectLst>
              </p:spPr>
              <p:txBody>
                <a:bodyPr/>
                <a:lstStyle/>
                <a:p>
                  <a:pPr>
                    <a:defRPr/>
                  </a:pPr>
                  <a:endParaRPr lang="zh-CN" altLang="en-US"/>
                </a:p>
              </p:txBody>
            </p:sp>
            <p:sp>
              <p:nvSpPr>
                <p:cNvPr id="204" name="Freeform 110"/>
                <p:cNvSpPr>
                  <a:spLocks/>
                </p:cNvSpPr>
                <p:nvPr/>
              </p:nvSpPr>
              <p:spPr bwMode="blackWhite">
                <a:xfrm>
                  <a:off x="2476" y="2258"/>
                  <a:ext cx="10" cy="16"/>
                </a:xfrm>
                <a:custGeom>
                  <a:avLst/>
                  <a:gdLst/>
                  <a:ahLst/>
                  <a:cxnLst>
                    <a:cxn ang="0">
                      <a:pos x="10" y="5"/>
                    </a:cxn>
                    <a:cxn ang="0">
                      <a:pos x="1" y="11"/>
                    </a:cxn>
                    <a:cxn ang="0">
                      <a:pos x="9" y="20"/>
                    </a:cxn>
                    <a:cxn ang="0">
                      <a:pos x="10" y="5"/>
                    </a:cxn>
                  </a:cxnLst>
                  <a:rect l="0" t="0" r="r" b="b"/>
                  <a:pathLst>
                    <a:path w="13" h="20">
                      <a:moveTo>
                        <a:pt x="10" y="5"/>
                      </a:moveTo>
                      <a:cubicBezTo>
                        <a:pt x="3" y="0"/>
                        <a:pt x="5" y="6"/>
                        <a:pt x="1" y="11"/>
                      </a:cubicBezTo>
                      <a:cubicBezTo>
                        <a:pt x="0" y="18"/>
                        <a:pt x="2" y="19"/>
                        <a:pt x="9" y="20"/>
                      </a:cubicBezTo>
                      <a:cubicBezTo>
                        <a:pt x="13" y="14"/>
                        <a:pt x="10" y="12"/>
                        <a:pt x="10" y="5"/>
                      </a:cubicBezTo>
                      <a:close/>
                    </a:path>
                  </a:pathLst>
                </a:custGeom>
                <a:solidFill>
                  <a:srgbClr val="C0C0C0"/>
                </a:solidFill>
                <a:ln w="6350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>
                  <a:outerShdw dist="28398" dir="3806097" algn="ctr" rotWithShape="0">
                    <a:srgbClr val="333333">
                      <a:alpha val="50000"/>
                    </a:srgbClr>
                  </a:outerShdw>
                </a:effectLst>
              </p:spPr>
              <p:txBody>
                <a:bodyPr/>
                <a:lstStyle/>
                <a:p>
                  <a:pPr>
                    <a:defRPr/>
                  </a:pPr>
                  <a:endParaRPr lang="zh-CN" altLang="en-US"/>
                </a:p>
              </p:txBody>
            </p:sp>
            <p:sp>
              <p:nvSpPr>
                <p:cNvPr id="205" name="Freeform 111"/>
                <p:cNvSpPr>
                  <a:spLocks/>
                </p:cNvSpPr>
                <p:nvPr/>
              </p:nvSpPr>
              <p:spPr bwMode="blackWhite">
                <a:xfrm>
                  <a:off x="2238" y="2042"/>
                  <a:ext cx="2060" cy="1646"/>
                </a:xfrm>
                <a:custGeom>
                  <a:avLst/>
                  <a:gdLst/>
                  <a:ahLst/>
                  <a:cxnLst>
                    <a:cxn ang="0">
                      <a:pos x="452" y="653"/>
                    </a:cxn>
                    <a:cxn ang="0">
                      <a:pos x="333" y="595"/>
                    </a:cxn>
                    <a:cxn ang="0">
                      <a:pos x="158" y="645"/>
                    </a:cxn>
                    <a:cxn ang="0">
                      <a:pos x="46" y="759"/>
                    </a:cxn>
                    <a:cxn ang="0">
                      <a:pos x="12" y="941"/>
                    </a:cxn>
                    <a:cxn ang="0">
                      <a:pos x="146" y="1059"/>
                    </a:cxn>
                    <a:cxn ang="0">
                      <a:pos x="308" y="1041"/>
                    </a:cxn>
                    <a:cxn ang="0">
                      <a:pos x="396" y="1138"/>
                    </a:cxn>
                    <a:cxn ang="0">
                      <a:pos x="452" y="1447"/>
                    </a:cxn>
                    <a:cxn ang="0">
                      <a:pos x="497" y="1628"/>
                    </a:cxn>
                    <a:cxn ang="0">
                      <a:pos x="704" y="1574"/>
                    </a:cxn>
                    <a:cxn ang="0">
                      <a:pos x="817" y="1380"/>
                    </a:cxn>
                    <a:cxn ang="0">
                      <a:pos x="885" y="1153"/>
                    </a:cxn>
                    <a:cxn ang="0">
                      <a:pos x="998" y="999"/>
                    </a:cxn>
                    <a:cxn ang="0">
                      <a:pos x="796" y="856"/>
                    </a:cxn>
                    <a:cxn ang="0">
                      <a:pos x="817" y="819"/>
                    </a:cxn>
                    <a:cxn ang="0">
                      <a:pos x="1003" y="916"/>
                    </a:cxn>
                    <a:cxn ang="0">
                      <a:pos x="1098" y="792"/>
                    </a:cxn>
                    <a:cxn ang="0">
                      <a:pos x="1046" y="763"/>
                    </a:cxn>
                    <a:cxn ang="0">
                      <a:pos x="929" y="716"/>
                    </a:cxn>
                    <a:cxn ang="0">
                      <a:pos x="1141" y="761"/>
                    </a:cxn>
                    <a:cxn ang="0">
                      <a:pos x="1296" y="852"/>
                    </a:cxn>
                    <a:cxn ang="0">
                      <a:pos x="1373" y="1033"/>
                    </a:cxn>
                    <a:cxn ang="0">
                      <a:pos x="1608" y="847"/>
                    </a:cxn>
                    <a:cxn ang="0">
                      <a:pos x="1704" y="1030"/>
                    </a:cxn>
                    <a:cxn ang="0">
                      <a:pos x="1707" y="874"/>
                    </a:cxn>
                    <a:cxn ang="0">
                      <a:pos x="1759" y="800"/>
                    </a:cxn>
                    <a:cxn ang="0">
                      <a:pos x="1783" y="544"/>
                    </a:cxn>
                    <a:cxn ang="0">
                      <a:pos x="1824" y="528"/>
                    </a:cxn>
                    <a:cxn ang="0">
                      <a:pos x="1844" y="427"/>
                    </a:cxn>
                    <a:cxn ang="0">
                      <a:pos x="1805" y="226"/>
                    </a:cxn>
                    <a:cxn ang="0">
                      <a:pos x="1899" y="108"/>
                    </a:cxn>
                    <a:cxn ang="0">
                      <a:pos x="1947" y="209"/>
                    </a:cxn>
                    <a:cxn ang="0">
                      <a:pos x="1943" y="123"/>
                    </a:cxn>
                    <a:cxn ang="0">
                      <a:pos x="1975" y="51"/>
                    </a:cxn>
                    <a:cxn ang="0">
                      <a:pos x="2038" y="0"/>
                    </a:cxn>
                    <a:cxn ang="0">
                      <a:pos x="1820" y="63"/>
                    </a:cxn>
                    <a:cxn ang="0">
                      <a:pos x="1583" y="83"/>
                    </a:cxn>
                    <a:cxn ang="0">
                      <a:pos x="1349" y="30"/>
                    </a:cxn>
                    <a:cxn ang="0">
                      <a:pos x="1132" y="65"/>
                    </a:cxn>
                    <a:cxn ang="0">
                      <a:pos x="1040" y="170"/>
                    </a:cxn>
                    <a:cxn ang="0">
                      <a:pos x="926" y="137"/>
                    </a:cxn>
                    <a:cxn ang="0">
                      <a:pos x="758" y="183"/>
                    </a:cxn>
                    <a:cxn ang="0">
                      <a:pos x="667" y="140"/>
                    </a:cxn>
                    <a:cxn ang="0">
                      <a:pos x="364" y="248"/>
                    </a:cxn>
                    <a:cxn ang="0">
                      <a:pos x="535" y="213"/>
                    </a:cxn>
                    <a:cxn ang="0">
                      <a:pos x="638" y="276"/>
                    </a:cxn>
                    <a:cxn ang="0">
                      <a:pos x="443" y="357"/>
                    </a:cxn>
                    <a:cxn ang="0">
                      <a:pos x="275" y="416"/>
                    </a:cxn>
                    <a:cxn ang="0">
                      <a:pos x="167" y="537"/>
                    </a:cxn>
                    <a:cxn ang="0">
                      <a:pos x="283" y="552"/>
                    </a:cxn>
                    <a:cxn ang="0">
                      <a:pos x="381" y="573"/>
                    </a:cxn>
                    <a:cxn ang="0">
                      <a:pos x="493" y="590"/>
                    </a:cxn>
                    <a:cxn ang="0">
                      <a:pos x="487" y="512"/>
                    </a:cxn>
                    <a:cxn ang="0">
                      <a:pos x="592" y="548"/>
                    </a:cxn>
                    <a:cxn ang="0">
                      <a:pos x="686" y="470"/>
                    </a:cxn>
                    <a:cxn ang="0">
                      <a:pos x="772" y="480"/>
                    </a:cxn>
                    <a:cxn ang="0">
                      <a:pos x="639" y="598"/>
                    </a:cxn>
                  </a:cxnLst>
                  <a:rect l="0" t="0" r="r" b="b"/>
                  <a:pathLst>
                    <a:path w="2060" h="1644">
                      <a:moveTo>
                        <a:pt x="697" y="677"/>
                      </a:moveTo>
                      <a:cubicBezTo>
                        <a:pt x="659" y="675"/>
                        <a:pt x="652" y="669"/>
                        <a:pt x="618" y="667"/>
                      </a:cubicBezTo>
                      <a:cubicBezTo>
                        <a:pt x="607" y="666"/>
                        <a:pt x="594" y="661"/>
                        <a:pt x="582" y="658"/>
                      </a:cubicBezTo>
                      <a:cubicBezTo>
                        <a:pt x="577" y="655"/>
                        <a:pt x="568" y="650"/>
                        <a:pt x="568" y="650"/>
                      </a:cubicBezTo>
                      <a:cubicBezTo>
                        <a:pt x="551" y="652"/>
                        <a:pt x="557" y="655"/>
                        <a:pt x="546" y="658"/>
                      </a:cubicBezTo>
                      <a:cubicBezTo>
                        <a:pt x="540" y="667"/>
                        <a:pt x="542" y="669"/>
                        <a:pt x="546" y="677"/>
                      </a:cubicBezTo>
                      <a:cubicBezTo>
                        <a:pt x="548" y="680"/>
                        <a:pt x="550" y="686"/>
                        <a:pt x="550" y="686"/>
                      </a:cubicBezTo>
                      <a:cubicBezTo>
                        <a:pt x="526" y="694"/>
                        <a:pt x="506" y="678"/>
                        <a:pt x="488" y="670"/>
                      </a:cubicBezTo>
                      <a:cubicBezTo>
                        <a:pt x="481" y="653"/>
                        <a:pt x="472" y="655"/>
                        <a:pt x="452" y="653"/>
                      </a:cubicBezTo>
                      <a:cubicBezTo>
                        <a:pt x="446" y="648"/>
                        <a:pt x="444" y="648"/>
                        <a:pt x="437" y="650"/>
                      </a:cubicBezTo>
                      <a:cubicBezTo>
                        <a:pt x="427" y="647"/>
                        <a:pt x="433" y="648"/>
                        <a:pt x="423" y="642"/>
                      </a:cubicBezTo>
                      <a:cubicBezTo>
                        <a:pt x="421" y="641"/>
                        <a:pt x="418" y="639"/>
                        <a:pt x="418" y="639"/>
                      </a:cubicBezTo>
                      <a:cubicBezTo>
                        <a:pt x="416" y="638"/>
                        <a:pt x="413" y="633"/>
                        <a:pt x="413" y="630"/>
                      </a:cubicBezTo>
                      <a:cubicBezTo>
                        <a:pt x="415" y="625"/>
                        <a:pt x="418" y="616"/>
                        <a:pt x="418" y="616"/>
                      </a:cubicBezTo>
                      <a:cubicBezTo>
                        <a:pt x="416" y="592"/>
                        <a:pt x="421" y="588"/>
                        <a:pt x="398" y="591"/>
                      </a:cubicBezTo>
                      <a:cubicBezTo>
                        <a:pt x="390" y="598"/>
                        <a:pt x="390" y="595"/>
                        <a:pt x="381" y="592"/>
                      </a:cubicBezTo>
                      <a:cubicBezTo>
                        <a:pt x="370" y="592"/>
                        <a:pt x="361" y="595"/>
                        <a:pt x="348" y="597"/>
                      </a:cubicBezTo>
                      <a:cubicBezTo>
                        <a:pt x="344" y="595"/>
                        <a:pt x="337" y="597"/>
                        <a:pt x="333" y="595"/>
                      </a:cubicBezTo>
                      <a:cubicBezTo>
                        <a:pt x="331" y="594"/>
                        <a:pt x="330" y="592"/>
                        <a:pt x="328" y="592"/>
                      </a:cubicBezTo>
                      <a:cubicBezTo>
                        <a:pt x="314" y="591"/>
                        <a:pt x="296" y="597"/>
                        <a:pt x="283" y="602"/>
                      </a:cubicBezTo>
                      <a:cubicBezTo>
                        <a:pt x="276" y="603"/>
                        <a:pt x="268" y="606"/>
                        <a:pt x="260" y="608"/>
                      </a:cubicBezTo>
                      <a:cubicBezTo>
                        <a:pt x="255" y="609"/>
                        <a:pt x="246" y="613"/>
                        <a:pt x="246" y="613"/>
                      </a:cubicBezTo>
                      <a:cubicBezTo>
                        <a:pt x="228" y="611"/>
                        <a:pt x="209" y="609"/>
                        <a:pt x="189" y="611"/>
                      </a:cubicBezTo>
                      <a:cubicBezTo>
                        <a:pt x="184" y="613"/>
                        <a:pt x="180" y="614"/>
                        <a:pt x="175" y="617"/>
                      </a:cubicBezTo>
                      <a:cubicBezTo>
                        <a:pt x="173" y="619"/>
                        <a:pt x="173" y="620"/>
                        <a:pt x="173" y="622"/>
                      </a:cubicBezTo>
                      <a:cubicBezTo>
                        <a:pt x="172" y="623"/>
                        <a:pt x="169" y="623"/>
                        <a:pt x="169" y="625"/>
                      </a:cubicBezTo>
                      <a:cubicBezTo>
                        <a:pt x="163" y="634"/>
                        <a:pt x="167" y="641"/>
                        <a:pt x="158" y="645"/>
                      </a:cubicBezTo>
                      <a:cubicBezTo>
                        <a:pt x="153" y="648"/>
                        <a:pt x="149" y="652"/>
                        <a:pt x="144" y="655"/>
                      </a:cubicBezTo>
                      <a:cubicBezTo>
                        <a:pt x="141" y="656"/>
                        <a:pt x="135" y="659"/>
                        <a:pt x="135" y="659"/>
                      </a:cubicBezTo>
                      <a:cubicBezTo>
                        <a:pt x="133" y="664"/>
                        <a:pt x="130" y="666"/>
                        <a:pt x="130" y="669"/>
                      </a:cubicBezTo>
                      <a:cubicBezTo>
                        <a:pt x="128" y="677"/>
                        <a:pt x="132" y="691"/>
                        <a:pt x="124" y="698"/>
                      </a:cubicBezTo>
                      <a:cubicBezTo>
                        <a:pt x="118" y="703"/>
                        <a:pt x="108" y="709"/>
                        <a:pt x="101" y="711"/>
                      </a:cubicBezTo>
                      <a:cubicBezTo>
                        <a:pt x="101" y="711"/>
                        <a:pt x="90" y="716"/>
                        <a:pt x="87" y="716"/>
                      </a:cubicBezTo>
                      <a:cubicBezTo>
                        <a:pt x="85" y="717"/>
                        <a:pt x="82" y="717"/>
                        <a:pt x="82" y="717"/>
                      </a:cubicBezTo>
                      <a:cubicBezTo>
                        <a:pt x="76" y="725"/>
                        <a:pt x="68" y="733"/>
                        <a:pt x="60" y="738"/>
                      </a:cubicBezTo>
                      <a:cubicBezTo>
                        <a:pt x="56" y="745"/>
                        <a:pt x="53" y="755"/>
                        <a:pt x="46" y="759"/>
                      </a:cubicBezTo>
                      <a:cubicBezTo>
                        <a:pt x="43" y="764"/>
                        <a:pt x="37" y="767"/>
                        <a:pt x="31" y="773"/>
                      </a:cubicBezTo>
                      <a:cubicBezTo>
                        <a:pt x="26" y="780"/>
                        <a:pt x="25" y="789"/>
                        <a:pt x="23" y="797"/>
                      </a:cubicBezTo>
                      <a:cubicBezTo>
                        <a:pt x="20" y="803"/>
                        <a:pt x="19" y="809"/>
                        <a:pt x="17" y="816"/>
                      </a:cubicBezTo>
                      <a:cubicBezTo>
                        <a:pt x="15" y="817"/>
                        <a:pt x="14" y="824"/>
                        <a:pt x="14" y="824"/>
                      </a:cubicBezTo>
                      <a:cubicBezTo>
                        <a:pt x="15" y="831"/>
                        <a:pt x="26" y="842"/>
                        <a:pt x="26" y="842"/>
                      </a:cubicBezTo>
                      <a:cubicBezTo>
                        <a:pt x="26" y="847"/>
                        <a:pt x="17" y="855"/>
                        <a:pt x="17" y="855"/>
                      </a:cubicBezTo>
                      <a:cubicBezTo>
                        <a:pt x="14" y="863"/>
                        <a:pt x="17" y="867"/>
                        <a:pt x="25" y="870"/>
                      </a:cubicBezTo>
                      <a:cubicBezTo>
                        <a:pt x="28" y="884"/>
                        <a:pt x="17" y="902"/>
                        <a:pt x="6" y="909"/>
                      </a:cubicBezTo>
                      <a:cubicBezTo>
                        <a:pt x="0" y="927"/>
                        <a:pt x="5" y="927"/>
                        <a:pt x="12" y="941"/>
                      </a:cubicBezTo>
                      <a:cubicBezTo>
                        <a:pt x="23" y="963"/>
                        <a:pt x="29" y="969"/>
                        <a:pt x="53" y="977"/>
                      </a:cubicBezTo>
                      <a:cubicBezTo>
                        <a:pt x="60" y="986"/>
                        <a:pt x="56" y="983"/>
                        <a:pt x="63" y="989"/>
                      </a:cubicBezTo>
                      <a:cubicBezTo>
                        <a:pt x="62" y="994"/>
                        <a:pt x="59" y="997"/>
                        <a:pt x="59" y="1002"/>
                      </a:cubicBezTo>
                      <a:cubicBezTo>
                        <a:pt x="57" y="1009"/>
                        <a:pt x="70" y="1020"/>
                        <a:pt x="74" y="1027"/>
                      </a:cubicBezTo>
                      <a:cubicBezTo>
                        <a:pt x="77" y="1031"/>
                        <a:pt x="91" y="1036"/>
                        <a:pt x="91" y="1036"/>
                      </a:cubicBezTo>
                      <a:cubicBezTo>
                        <a:pt x="94" y="1036"/>
                        <a:pt x="96" y="1036"/>
                        <a:pt x="98" y="1034"/>
                      </a:cubicBezTo>
                      <a:cubicBezTo>
                        <a:pt x="99" y="1034"/>
                        <a:pt x="98" y="1031"/>
                        <a:pt x="99" y="1030"/>
                      </a:cubicBezTo>
                      <a:cubicBezTo>
                        <a:pt x="101" y="1030"/>
                        <a:pt x="107" y="1038"/>
                        <a:pt x="108" y="1038"/>
                      </a:cubicBezTo>
                      <a:cubicBezTo>
                        <a:pt x="119" y="1047"/>
                        <a:pt x="133" y="1055"/>
                        <a:pt x="146" y="1059"/>
                      </a:cubicBezTo>
                      <a:cubicBezTo>
                        <a:pt x="149" y="1067"/>
                        <a:pt x="152" y="1066"/>
                        <a:pt x="159" y="1064"/>
                      </a:cubicBezTo>
                      <a:cubicBezTo>
                        <a:pt x="163" y="1061"/>
                        <a:pt x="166" y="1059"/>
                        <a:pt x="169" y="1058"/>
                      </a:cubicBezTo>
                      <a:cubicBezTo>
                        <a:pt x="172" y="1056"/>
                        <a:pt x="178" y="1055"/>
                        <a:pt x="178" y="1055"/>
                      </a:cubicBezTo>
                      <a:cubicBezTo>
                        <a:pt x="192" y="1059"/>
                        <a:pt x="209" y="1061"/>
                        <a:pt x="224" y="1063"/>
                      </a:cubicBezTo>
                      <a:cubicBezTo>
                        <a:pt x="231" y="1067"/>
                        <a:pt x="229" y="1070"/>
                        <a:pt x="238" y="1069"/>
                      </a:cubicBezTo>
                      <a:cubicBezTo>
                        <a:pt x="238" y="1063"/>
                        <a:pt x="238" y="1056"/>
                        <a:pt x="238" y="1050"/>
                      </a:cubicBezTo>
                      <a:cubicBezTo>
                        <a:pt x="241" y="1041"/>
                        <a:pt x="257" y="1059"/>
                        <a:pt x="260" y="1061"/>
                      </a:cubicBezTo>
                      <a:cubicBezTo>
                        <a:pt x="266" y="1050"/>
                        <a:pt x="279" y="1052"/>
                        <a:pt x="291" y="1050"/>
                      </a:cubicBezTo>
                      <a:cubicBezTo>
                        <a:pt x="297" y="1049"/>
                        <a:pt x="302" y="1044"/>
                        <a:pt x="308" y="1041"/>
                      </a:cubicBezTo>
                      <a:cubicBezTo>
                        <a:pt x="319" y="1042"/>
                        <a:pt x="330" y="1045"/>
                        <a:pt x="341" y="1049"/>
                      </a:cubicBezTo>
                      <a:cubicBezTo>
                        <a:pt x="342" y="1050"/>
                        <a:pt x="344" y="1055"/>
                        <a:pt x="344" y="1058"/>
                      </a:cubicBezTo>
                      <a:cubicBezTo>
                        <a:pt x="344" y="1061"/>
                        <a:pt x="342" y="1067"/>
                        <a:pt x="342" y="1067"/>
                      </a:cubicBezTo>
                      <a:cubicBezTo>
                        <a:pt x="347" y="1070"/>
                        <a:pt x="355" y="1072"/>
                        <a:pt x="361" y="1075"/>
                      </a:cubicBezTo>
                      <a:cubicBezTo>
                        <a:pt x="362" y="1075"/>
                        <a:pt x="365" y="1077"/>
                        <a:pt x="365" y="1077"/>
                      </a:cubicBezTo>
                      <a:cubicBezTo>
                        <a:pt x="375" y="1074"/>
                        <a:pt x="384" y="1074"/>
                        <a:pt x="393" y="1080"/>
                      </a:cubicBezTo>
                      <a:cubicBezTo>
                        <a:pt x="396" y="1083"/>
                        <a:pt x="398" y="1088"/>
                        <a:pt x="401" y="1092"/>
                      </a:cubicBezTo>
                      <a:cubicBezTo>
                        <a:pt x="404" y="1095"/>
                        <a:pt x="407" y="1102"/>
                        <a:pt x="407" y="1102"/>
                      </a:cubicBezTo>
                      <a:cubicBezTo>
                        <a:pt x="404" y="1114"/>
                        <a:pt x="399" y="1127"/>
                        <a:pt x="396" y="1138"/>
                      </a:cubicBezTo>
                      <a:cubicBezTo>
                        <a:pt x="393" y="1147"/>
                        <a:pt x="395" y="1141"/>
                        <a:pt x="389" y="1152"/>
                      </a:cubicBezTo>
                      <a:cubicBezTo>
                        <a:pt x="387" y="1153"/>
                        <a:pt x="385" y="1156"/>
                        <a:pt x="385" y="1156"/>
                      </a:cubicBezTo>
                      <a:cubicBezTo>
                        <a:pt x="389" y="1185"/>
                        <a:pt x="396" y="1180"/>
                        <a:pt x="410" y="1197"/>
                      </a:cubicBezTo>
                      <a:cubicBezTo>
                        <a:pt x="427" y="1219"/>
                        <a:pt x="440" y="1239"/>
                        <a:pt x="447" y="1266"/>
                      </a:cubicBezTo>
                      <a:cubicBezTo>
                        <a:pt x="446" y="1280"/>
                        <a:pt x="452" y="1314"/>
                        <a:pt x="435" y="1325"/>
                      </a:cubicBezTo>
                      <a:cubicBezTo>
                        <a:pt x="427" y="1347"/>
                        <a:pt x="433" y="1325"/>
                        <a:pt x="430" y="1367"/>
                      </a:cubicBezTo>
                      <a:cubicBezTo>
                        <a:pt x="429" y="1377"/>
                        <a:pt x="421" y="1381"/>
                        <a:pt x="418" y="1391"/>
                      </a:cubicBezTo>
                      <a:cubicBezTo>
                        <a:pt x="421" y="1413"/>
                        <a:pt x="430" y="1422"/>
                        <a:pt x="446" y="1438"/>
                      </a:cubicBezTo>
                      <a:cubicBezTo>
                        <a:pt x="449" y="1441"/>
                        <a:pt x="450" y="1442"/>
                        <a:pt x="452" y="1447"/>
                      </a:cubicBezTo>
                      <a:cubicBezTo>
                        <a:pt x="454" y="1450"/>
                        <a:pt x="455" y="1456"/>
                        <a:pt x="455" y="1456"/>
                      </a:cubicBezTo>
                      <a:cubicBezTo>
                        <a:pt x="457" y="1475"/>
                        <a:pt x="458" y="1488"/>
                        <a:pt x="460" y="1505"/>
                      </a:cubicBezTo>
                      <a:cubicBezTo>
                        <a:pt x="461" y="1514"/>
                        <a:pt x="461" y="1511"/>
                        <a:pt x="464" y="1522"/>
                      </a:cubicBezTo>
                      <a:cubicBezTo>
                        <a:pt x="466" y="1524"/>
                        <a:pt x="466" y="1527"/>
                        <a:pt x="466" y="1527"/>
                      </a:cubicBezTo>
                      <a:cubicBezTo>
                        <a:pt x="468" y="1542"/>
                        <a:pt x="469" y="1552"/>
                        <a:pt x="481" y="1561"/>
                      </a:cubicBezTo>
                      <a:cubicBezTo>
                        <a:pt x="485" y="1566"/>
                        <a:pt x="488" y="1569"/>
                        <a:pt x="494" y="1572"/>
                      </a:cubicBezTo>
                      <a:cubicBezTo>
                        <a:pt x="497" y="1585"/>
                        <a:pt x="503" y="1597"/>
                        <a:pt x="506" y="1610"/>
                      </a:cubicBezTo>
                      <a:cubicBezTo>
                        <a:pt x="506" y="1614"/>
                        <a:pt x="508" y="1619"/>
                        <a:pt x="505" y="1622"/>
                      </a:cubicBezTo>
                      <a:cubicBezTo>
                        <a:pt x="503" y="1625"/>
                        <a:pt x="497" y="1628"/>
                        <a:pt x="497" y="1628"/>
                      </a:cubicBezTo>
                      <a:cubicBezTo>
                        <a:pt x="488" y="1642"/>
                        <a:pt x="509" y="1644"/>
                        <a:pt x="517" y="1644"/>
                      </a:cubicBezTo>
                      <a:cubicBezTo>
                        <a:pt x="539" y="1639"/>
                        <a:pt x="557" y="1635"/>
                        <a:pt x="579" y="1633"/>
                      </a:cubicBezTo>
                      <a:cubicBezTo>
                        <a:pt x="598" y="1630"/>
                        <a:pt x="613" y="1627"/>
                        <a:pt x="632" y="1624"/>
                      </a:cubicBezTo>
                      <a:cubicBezTo>
                        <a:pt x="635" y="1624"/>
                        <a:pt x="638" y="1622"/>
                        <a:pt x="641" y="1621"/>
                      </a:cubicBezTo>
                      <a:cubicBezTo>
                        <a:pt x="642" y="1621"/>
                        <a:pt x="644" y="1619"/>
                        <a:pt x="646" y="1617"/>
                      </a:cubicBezTo>
                      <a:cubicBezTo>
                        <a:pt x="649" y="1617"/>
                        <a:pt x="655" y="1616"/>
                        <a:pt x="655" y="1616"/>
                      </a:cubicBezTo>
                      <a:cubicBezTo>
                        <a:pt x="659" y="1610"/>
                        <a:pt x="664" y="1603"/>
                        <a:pt x="670" y="1600"/>
                      </a:cubicBezTo>
                      <a:cubicBezTo>
                        <a:pt x="675" y="1594"/>
                        <a:pt x="678" y="1591"/>
                        <a:pt x="683" y="1588"/>
                      </a:cubicBezTo>
                      <a:cubicBezTo>
                        <a:pt x="687" y="1581"/>
                        <a:pt x="697" y="1577"/>
                        <a:pt x="704" y="1574"/>
                      </a:cubicBezTo>
                      <a:cubicBezTo>
                        <a:pt x="715" y="1563"/>
                        <a:pt x="726" y="1550"/>
                        <a:pt x="731" y="1535"/>
                      </a:cubicBezTo>
                      <a:cubicBezTo>
                        <a:pt x="731" y="1531"/>
                        <a:pt x="729" y="1528"/>
                        <a:pt x="729" y="1525"/>
                      </a:cubicBezTo>
                      <a:cubicBezTo>
                        <a:pt x="729" y="1494"/>
                        <a:pt x="737" y="1505"/>
                        <a:pt x="754" y="1494"/>
                      </a:cubicBezTo>
                      <a:cubicBezTo>
                        <a:pt x="759" y="1488"/>
                        <a:pt x="762" y="1483"/>
                        <a:pt x="765" y="1475"/>
                      </a:cubicBezTo>
                      <a:cubicBezTo>
                        <a:pt x="763" y="1458"/>
                        <a:pt x="765" y="1439"/>
                        <a:pt x="755" y="1424"/>
                      </a:cubicBezTo>
                      <a:cubicBezTo>
                        <a:pt x="759" y="1413"/>
                        <a:pt x="771" y="1419"/>
                        <a:pt x="779" y="1422"/>
                      </a:cubicBezTo>
                      <a:cubicBezTo>
                        <a:pt x="782" y="1427"/>
                        <a:pt x="782" y="1435"/>
                        <a:pt x="785" y="1427"/>
                      </a:cubicBezTo>
                      <a:cubicBezTo>
                        <a:pt x="786" y="1416"/>
                        <a:pt x="786" y="1405"/>
                        <a:pt x="786" y="1396"/>
                      </a:cubicBezTo>
                      <a:cubicBezTo>
                        <a:pt x="788" y="1386"/>
                        <a:pt x="810" y="1385"/>
                        <a:pt x="817" y="1380"/>
                      </a:cubicBezTo>
                      <a:cubicBezTo>
                        <a:pt x="820" y="1374"/>
                        <a:pt x="831" y="1367"/>
                        <a:pt x="837" y="1363"/>
                      </a:cubicBezTo>
                      <a:cubicBezTo>
                        <a:pt x="841" y="1361"/>
                        <a:pt x="847" y="1356"/>
                        <a:pt x="847" y="1356"/>
                      </a:cubicBezTo>
                      <a:cubicBezTo>
                        <a:pt x="855" y="1345"/>
                        <a:pt x="845" y="1333"/>
                        <a:pt x="844" y="1320"/>
                      </a:cubicBezTo>
                      <a:cubicBezTo>
                        <a:pt x="845" y="1310"/>
                        <a:pt x="847" y="1308"/>
                        <a:pt x="850" y="1299"/>
                      </a:cubicBezTo>
                      <a:cubicBezTo>
                        <a:pt x="847" y="1288"/>
                        <a:pt x="842" y="1288"/>
                        <a:pt x="834" y="1280"/>
                      </a:cubicBezTo>
                      <a:cubicBezTo>
                        <a:pt x="833" y="1275"/>
                        <a:pt x="830" y="1266"/>
                        <a:pt x="830" y="1266"/>
                      </a:cubicBezTo>
                      <a:cubicBezTo>
                        <a:pt x="831" y="1250"/>
                        <a:pt x="831" y="1236"/>
                        <a:pt x="831" y="1220"/>
                      </a:cubicBezTo>
                      <a:cubicBezTo>
                        <a:pt x="833" y="1192"/>
                        <a:pt x="861" y="1183"/>
                        <a:pt x="876" y="1166"/>
                      </a:cubicBezTo>
                      <a:cubicBezTo>
                        <a:pt x="879" y="1160"/>
                        <a:pt x="884" y="1160"/>
                        <a:pt x="885" y="1153"/>
                      </a:cubicBezTo>
                      <a:cubicBezTo>
                        <a:pt x="890" y="1144"/>
                        <a:pt x="889" y="1142"/>
                        <a:pt x="895" y="1136"/>
                      </a:cubicBezTo>
                      <a:cubicBezTo>
                        <a:pt x="898" y="1127"/>
                        <a:pt x="906" y="1114"/>
                        <a:pt x="915" y="1111"/>
                      </a:cubicBezTo>
                      <a:cubicBezTo>
                        <a:pt x="920" y="1105"/>
                        <a:pt x="924" y="1099"/>
                        <a:pt x="930" y="1094"/>
                      </a:cubicBezTo>
                      <a:cubicBezTo>
                        <a:pt x="935" y="1089"/>
                        <a:pt x="938" y="1089"/>
                        <a:pt x="943" y="1084"/>
                      </a:cubicBezTo>
                      <a:cubicBezTo>
                        <a:pt x="947" y="1080"/>
                        <a:pt x="949" y="1078"/>
                        <a:pt x="955" y="1077"/>
                      </a:cubicBezTo>
                      <a:cubicBezTo>
                        <a:pt x="961" y="1066"/>
                        <a:pt x="958" y="1069"/>
                        <a:pt x="966" y="1064"/>
                      </a:cubicBezTo>
                      <a:cubicBezTo>
                        <a:pt x="972" y="1055"/>
                        <a:pt x="978" y="1045"/>
                        <a:pt x="983" y="1036"/>
                      </a:cubicBezTo>
                      <a:cubicBezTo>
                        <a:pt x="988" y="1030"/>
                        <a:pt x="989" y="1019"/>
                        <a:pt x="991" y="1013"/>
                      </a:cubicBezTo>
                      <a:cubicBezTo>
                        <a:pt x="994" y="1003"/>
                        <a:pt x="992" y="1009"/>
                        <a:pt x="998" y="999"/>
                      </a:cubicBezTo>
                      <a:cubicBezTo>
                        <a:pt x="1003" y="992"/>
                        <a:pt x="1003" y="984"/>
                        <a:pt x="1005" y="977"/>
                      </a:cubicBezTo>
                      <a:cubicBezTo>
                        <a:pt x="1003" y="966"/>
                        <a:pt x="1000" y="970"/>
                        <a:pt x="989" y="974"/>
                      </a:cubicBezTo>
                      <a:cubicBezTo>
                        <a:pt x="971" y="986"/>
                        <a:pt x="941" y="983"/>
                        <a:pt x="921" y="983"/>
                      </a:cubicBezTo>
                      <a:cubicBezTo>
                        <a:pt x="892" y="981"/>
                        <a:pt x="895" y="977"/>
                        <a:pt x="878" y="961"/>
                      </a:cubicBezTo>
                      <a:cubicBezTo>
                        <a:pt x="875" y="949"/>
                        <a:pt x="867" y="944"/>
                        <a:pt x="858" y="936"/>
                      </a:cubicBezTo>
                      <a:cubicBezTo>
                        <a:pt x="853" y="933"/>
                        <a:pt x="844" y="930"/>
                        <a:pt x="844" y="930"/>
                      </a:cubicBezTo>
                      <a:cubicBezTo>
                        <a:pt x="837" y="909"/>
                        <a:pt x="828" y="891"/>
                        <a:pt x="817" y="872"/>
                      </a:cubicBezTo>
                      <a:cubicBezTo>
                        <a:pt x="811" y="866"/>
                        <a:pt x="816" y="869"/>
                        <a:pt x="805" y="863"/>
                      </a:cubicBezTo>
                      <a:cubicBezTo>
                        <a:pt x="802" y="859"/>
                        <a:pt x="796" y="856"/>
                        <a:pt x="796" y="856"/>
                      </a:cubicBezTo>
                      <a:cubicBezTo>
                        <a:pt x="786" y="842"/>
                        <a:pt x="794" y="825"/>
                        <a:pt x="785" y="813"/>
                      </a:cubicBezTo>
                      <a:cubicBezTo>
                        <a:pt x="774" y="794"/>
                        <a:pt x="759" y="772"/>
                        <a:pt x="745" y="758"/>
                      </a:cubicBezTo>
                      <a:cubicBezTo>
                        <a:pt x="742" y="744"/>
                        <a:pt x="737" y="736"/>
                        <a:pt x="729" y="723"/>
                      </a:cubicBezTo>
                      <a:cubicBezTo>
                        <a:pt x="726" y="720"/>
                        <a:pt x="723" y="709"/>
                        <a:pt x="723" y="709"/>
                      </a:cubicBezTo>
                      <a:cubicBezTo>
                        <a:pt x="740" y="705"/>
                        <a:pt x="757" y="733"/>
                        <a:pt x="766" y="744"/>
                      </a:cubicBezTo>
                      <a:cubicBezTo>
                        <a:pt x="771" y="758"/>
                        <a:pt x="771" y="759"/>
                        <a:pt x="786" y="764"/>
                      </a:cubicBezTo>
                      <a:cubicBezTo>
                        <a:pt x="793" y="766"/>
                        <a:pt x="800" y="773"/>
                        <a:pt x="800" y="773"/>
                      </a:cubicBezTo>
                      <a:cubicBezTo>
                        <a:pt x="803" y="780"/>
                        <a:pt x="808" y="784"/>
                        <a:pt x="813" y="791"/>
                      </a:cubicBezTo>
                      <a:cubicBezTo>
                        <a:pt x="813" y="803"/>
                        <a:pt x="814" y="809"/>
                        <a:pt x="817" y="819"/>
                      </a:cubicBezTo>
                      <a:cubicBezTo>
                        <a:pt x="819" y="842"/>
                        <a:pt x="820" y="841"/>
                        <a:pt x="839" y="847"/>
                      </a:cubicBezTo>
                      <a:cubicBezTo>
                        <a:pt x="844" y="852"/>
                        <a:pt x="847" y="856"/>
                        <a:pt x="851" y="861"/>
                      </a:cubicBezTo>
                      <a:cubicBezTo>
                        <a:pt x="851" y="863"/>
                        <a:pt x="853" y="864"/>
                        <a:pt x="853" y="866"/>
                      </a:cubicBezTo>
                      <a:cubicBezTo>
                        <a:pt x="853" y="869"/>
                        <a:pt x="853" y="874"/>
                        <a:pt x="855" y="877"/>
                      </a:cubicBezTo>
                      <a:cubicBezTo>
                        <a:pt x="856" y="884"/>
                        <a:pt x="870" y="889"/>
                        <a:pt x="875" y="894"/>
                      </a:cubicBezTo>
                      <a:cubicBezTo>
                        <a:pt x="887" y="927"/>
                        <a:pt x="870" y="945"/>
                        <a:pt x="910" y="955"/>
                      </a:cubicBezTo>
                      <a:cubicBezTo>
                        <a:pt x="921" y="953"/>
                        <a:pt x="926" y="955"/>
                        <a:pt x="933" y="949"/>
                      </a:cubicBezTo>
                      <a:cubicBezTo>
                        <a:pt x="938" y="942"/>
                        <a:pt x="944" y="941"/>
                        <a:pt x="951" y="936"/>
                      </a:cubicBezTo>
                      <a:cubicBezTo>
                        <a:pt x="972" y="924"/>
                        <a:pt x="978" y="920"/>
                        <a:pt x="1003" y="916"/>
                      </a:cubicBezTo>
                      <a:cubicBezTo>
                        <a:pt x="1009" y="914"/>
                        <a:pt x="1017" y="911"/>
                        <a:pt x="1025" y="909"/>
                      </a:cubicBezTo>
                      <a:cubicBezTo>
                        <a:pt x="1031" y="906"/>
                        <a:pt x="1036" y="899"/>
                        <a:pt x="1042" y="897"/>
                      </a:cubicBezTo>
                      <a:cubicBezTo>
                        <a:pt x="1051" y="894"/>
                        <a:pt x="1060" y="894"/>
                        <a:pt x="1068" y="888"/>
                      </a:cubicBezTo>
                      <a:cubicBezTo>
                        <a:pt x="1073" y="881"/>
                        <a:pt x="1079" y="877"/>
                        <a:pt x="1084" y="869"/>
                      </a:cubicBezTo>
                      <a:cubicBezTo>
                        <a:pt x="1087" y="861"/>
                        <a:pt x="1088" y="850"/>
                        <a:pt x="1098" y="844"/>
                      </a:cubicBezTo>
                      <a:cubicBezTo>
                        <a:pt x="1104" y="836"/>
                        <a:pt x="1105" y="825"/>
                        <a:pt x="1108" y="816"/>
                      </a:cubicBezTo>
                      <a:cubicBezTo>
                        <a:pt x="1110" y="811"/>
                        <a:pt x="1115" y="808"/>
                        <a:pt x="1116" y="803"/>
                      </a:cubicBezTo>
                      <a:cubicBezTo>
                        <a:pt x="1110" y="800"/>
                        <a:pt x="1110" y="805"/>
                        <a:pt x="1102" y="808"/>
                      </a:cubicBezTo>
                      <a:cubicBezTo>
                        <a:pt x="1099" y="802"/>
                        <a:pt x="1104" y="795"/>
                        <a:pt x="1098" y="792"/>
                      </a:cubicBezTo>
                      <a:cubicBezTo>
                        <a:pt x="1094" y="789"/>
                        <a:pt x="1084" y="788"/>
                        <a:pt x="1084" y="788"/>
                      </a:cubicBezTo>
                      <a:cubicBezTo>
                        <a:pt x="1077" y="780"/>
                        <a:pt x="1076" y="783"/>
                        <a:pt x="1067" y="786"/>
                      </a:cubicBezTo>
                      <a:cubicBezTo>
                        <a:pt x="1064" y="788"/>
                        <a:pt x="1057" y="789"/>
                        <a:pt x="1057" y="789"/>
                      </a:cubicBezTo>
                      <a:cubicBezTo>
                        <a:pt x="1054" y="789"/>
                        <a:pt x="1051" y="789"/>
                        <a:pt x="1048" y="788"/>
                      </a:cubicBezTo>
                      <a:cubicBezTo>
                        <a:pt x="1046" y="786"/>
                        <a:pt x="1045" y="778"/>
                        <a:pt x="1045" y="778"/>
                      </a:cubicBezTo>
                      <a:cubicBezTo>
                        <a:pt x="1046" y="778"/>
                        <a:pt x="1048" y="777"/>
                        <a:pt x="1050" y="775"/>
                      </a:cubicBezTo>
                      <a:cubicBezTo>
                        <a:pt x="1060" y="772"/>
                        <a:pt x="1067" y="778"/>
                        <a:pt x="1060" y="763"/>
                      </a:cubicBezTo>
                      <a:cubicBezTo>
                        <a:pt x="1059" y="763"/>
                        <a:pt x="1057" y="761"/>
                        <a:pt x="1056" y="761"/>
                      </a:cubicBezTo>
                      <a:cubicBezTo>
                        <a:pt x="1053" y="761"/>
                        <a:pt x="1048" y="761"/>
                        <a:pt x="1046" y="763"/>
                      </a:cubicBezTo>
                      <a:cubicBezTo>
                        <a:pt x="1046" y="764"/>
                        <a:pt x="1045" y="766"/>
                        <a:pt x="1043" y="767"/>
                      </a:cubicBezTo>
                      <a:cubicBezTo>
                        <a:pt x="1036" y="775"/>
                        <a:pt x="1025" y="777"/>
                        <a:pt x="1016" y="780"/>
                      </a:cubicBezTo>
                      <a:cubicBezTo>
                        <a:pt x="1011" y="780"/>
                        <a:pt x="1006" y="778"/>
                        <a:pt x="1003" y="777"/>
                      </a:cubicBezTo>
                      <a:cubicBezTo>
                        <a:pt x="1002" y="777"/>
                        <a:pt x="997" y="775"/>
                        <a:pt x="997" y="775"/>
                      </a:cubicBezTo>
                      <a:cubicBezTo>
                        <a:pt x="988" y="763"/>
                        <a:pt x="986" y="761"/>
                        <a:pt x="971" y="758"/>
                      </a:cubicBezTo>
                      <a:cubicBezTo>
                        <a:pt x="971" y="753"/>
                        <a:pt x="974" y="747"/>
                        <a:pt x="971" y="742"/>
                      </a:cubicBezTo>
                      <a:cubicBezTo>
                        <a:pt x="969" y="739"/>
                        <a:pt x="960" y="736"/>
                        <a:pt x="957" y="734"/>
                      </a:cubicBezTo>
                      <a:cubicBezTo>
                        <a:pt x="954" y="733"/>
                        <a:pt x="947" y="731"/>
                        <a:pt x="947" y="731"/>
                      </a:cubicBezTo>
                      <a:cubicBezTo>
                        <a:pt x="941" y="725"/>
                        <a:pt x="935" y="722"/>
                        <a:pt x="929" y="716"/>
                      </a:cubicBezTo>
                      <a:cubicBezTo>
                        <a:pt x="930" y="706"/>
                        <a:pt x="932" y="700"/>
                        <a:pt x="941" y="697"/>
                      </a:cubicBezTo>
                      <a:cubicBezTo>
                        <a:pt x="955" y="698"/>
                        <a:pt x="968" y="702"/>
                        <a:pt x="980" y="705"/>
                      </a:cubicBezTo>
                      <a:cubicBezTo>
                        <a:pt x="986" y="711"/>
                        <a:pt x="988" y="716"/>
                        <a:pt x="995" y="720"/>
                      </a:cubicBezTo>
                      <a:cubicBezTo>
                        <a:pt x="1005" y="734"/>
                        <a:pt x="1012" y="736"/>
                        <a:pt x="1025" y="744"/>
                      </a:cubicBezTo>
                      <a:cubicBezTo>
                        <a:pt x="1033" y="742"/>
                        <a:pt x="1045" y="747"/>
                        <a:pt x="1051" y="741"/>
                      </a:cubicBezTo>
                      <a:cubicBezTo>
                        <a:pt x="1060" y="733"/>
                        <a:pt x="1048" y="738"/>
                        <a:pt x="1059" y="734"/>
                      </a:cubicBezTo>
                      <a:cubicBezTo>
                        <a:pt x="1064" y="738"/>
                        <a:pt x="1068" y="739"/>
                        <a:pt x="1073" y="742"/>
                      </a:cubicBezTo>
                      <a:cubicBezTo>
                        <a:pt x="1079" y="752"/>
                        <a:pt x="1093" y="750"/>
                        <a:pt x="1104" y="753"/>
                      </a:cubicBezTo>
                      <a:cubicBezTo>
                        <a:pt x="1121" y="764"/>
                        <a:pt x="1110" y="759"/>
                        <a:pt x="1141" y="761"/>
                      </a:cubicBezTo>
                      <a:cubicBezTo>
                        <a:pt x="1152" y="763"/>
                        <a:pt x="1156" y="766"/>
                        <a:pt x="1163" y="775"/>
                      </a:cubicBezTo>
                      <a:cubicBezTo>
                        <a:pt x="1159" y="788"/>
                        <a:pt x="1167" y="781"/>
                        <a:pt x="1173" y="777"/>
                      </a:cubicBezTo>
                      <a:cubicBezTo>
                        <a:pt x="1175" y="770"/>
                        <a:pt x="1178" y="770"/>
                        <a:pt x="1181" y="764"/>
                      </a:cubicBezTo>
                      <a:cubicBezTo>
                        <a:pt x="1190" y="767"/>
                        <a:pt x="1189" y="772"/>
                        <a:pt x="1187" y="783"/>
                      </a:cubicBezTo>
                      <a:cubicBezTo>
                        <a:pt x="1195" y="789"/>
                        <a:pt x="1206" y="786"/>
                        <a:pt x="1215" y="789"/>
                      </a:cubicBezTo>
                      <a:cubicBezTo>
                        <a:pt x="1221" y="791"/>
                        <a:pt x="1226" y="797"/>
                        <a:pt x="1234" y="800"/>
                      </a:cubicBezTo>
                      <a:cubicBezTo>
                        <a:pt x="1245" y="803"/>
                        <a:pt x="1255" y="808"/>
                        <a:pt x="1265" y="816"/>
                      </a:cubicBezTo>
                      <a:cubicBezTo>
                        <a:pt x="1268" y="827"/>
                        <a:pt x="1272" y="831"/>
                        <a:pt x="1282" y="834"/>
                      </a:cubicBezTo>
                      <a:cubicBezTo>
                        <a:pt x="1286" y="842"/>
                        <a:pt x="1288" y="847"/>
                        <a:pt x="1296" y="852"/>
                      </a:cubicBezTo>
                      <a:cubicBezTo>
                        <a:pt x="1308" y="849"/>
                        <a:pt x="1302" y="850"/>
                        <a:pt x="1314" y="847"/>
                      </a:cubicBezTo>
                      <a:cubicBezTo>
                        <a:pt x="1316" y="845"/>
                        <a:pt x="1319" y="845"/>
                        <a:pt x="1319" y="845"/>
                      </a:cubicBezTo>
                      <a:cubicBezTo>
                        <a:pt x="1328" y="852"/>
                        <a:pt x="1322" y="842"/>
                        <a:pt x="1319" y="839"/>
                      </a:cubicBezTo>
                      <a:cubicBezTo>
                        <a:pt x="1316" y="844"/>
                        <a:pt x="1311" y="847"/>
                        <a:pt x="1310" y="853"/>
                      </a:cubicBezTo>
                      <a:cubicBezTo>
                        <a:pt x="1310" y="856"/>
                        <a:pt x="1307" y="863"/>
                        <a:pt x="1307" y="863"/>
                      </a:cubicBezTo>
                      <a:cubicBezTo>
                        <a:pt x="1308" y="869"/>
                        <a:pt x="1310" y="880"/>
                        <a:pt x="1319" y="880"/>
                      </a:cubicBezTo>
                      <a:lnTo>
                        <a:pt x="1320" y="916"/>
                      </a:lnTo>
                      <a:lnTo>
                        <a:pt x="1348" y="1005"/>
                      </a:lnTo>
                      <a:lnTo>
                        <a:pt x="1373" y="1033"/>
                      </a:lnTo>
                      <a:lnTo>
                        <a:pt x="1416" y="994"/>
                      </a:lnTo>
                      <a:lnTo>
                        <a:pt x="1413" y="967"/>
                      </a:lnTo>
                      <a:lnTo>
                        <a:pt x="1424" y="959"/>
                      </a:lnTo>
                      <a:lnTo>
                        <a:pt x="1423" y="925"/>
                      </a:lnTo>
                      <a:lnTo>
                        <a:pt x="1452" y="916"/>
                      </a:lnTo>
                      <a:lnTo>
                        <a:pt x="1520" y="855"/>
                      </a:lnTo>
                      <a:lnTo>
                        <a:pt x="1533" y="839"/>
                      </a:lnTo>
                      <a:lnTo>
                        <a:pt x="1588" y="824"/>
                      </a:lnTo>
                      <a:lnTo>
                        <a:pt x="1608" y="847"/>
                      </a:lnTo>
                      <a:lnTo>
                        <a:pt x="1602" y="858"/>
                      </a:lnTo>
                      <a:lnTo>
                        <a:pt x="1619" y="875"/>
                      </a:lnTo>
                      <a:lnTo>
                        <a:pt x="1624" y="899"/>
                      </a:lnTo>
                      <a:lnTo>
                        <a:pt x="1641" y="906"/>
                      </a:lnTo>
                      <a:lnTo>
                        <a:pt x="1677" y="892"/>
                      </a:lnTo>
                      <a:lnTo>
                        <a:pt x="1675" y="975"/>
                      </a:lnTo>
                      <a:lnTo>
                        <a:pt x="1684" y="956"/>
                      </a:lnTo>
                      <a:lnTo>
                        <a:pt x="1707" y="1000"/>
                      </a:lnTo>
                      <a:lnTo>
                        <a:pt x="1704" y="1030"/>
                      </a:lnTo>
                      <a:lnTo>
                        <a:pt x="1718" y="1013"/>
                      </a:lnTo>
                      <a:lnTo>
                        <a:pt x="1721" y="997"/>
                      </a:lnTo>
                      <a:lnTo>
                        <a:pt x="1738" y="972"/>
                      </a:lnTo>
                      <a:lnTo>
                        <a:pt x="1728" y="958"/>
                      </a:lnTo>
                      <a:lnTo>
                        <a:pt x="1737" y="942"/>
                      </a:lnTo>
                      <a:lnTo>
                        <a:pt x="1725" y="913"/>
                      </a:lnTo>
                      <a:lnTo>
                        <a:pt x="1732" y="889"/>
                      </a:lnTo>
                      <a:lnTo>
                        <a:pt x="1715" y="895"/>
                      </a:lnTo>
                      <a:lnTo>
                        <a:pt x="1707" y="874"/>
                      </a:lnTo>
                      <a:lnTo>
                        <a:pt x="1701" y="844"/>
                      </a:lnTo>
                      <a:lnTo>
                        <a:pt x="1714" y="816"/>
                      </a:lnTo>
                      <a:lnTo>
                        <a:pt x="1728" y="834"/>
                      </a:lnTo>
                      <a:lnTo>
                        <a:pt x="1721" y="880"/>
                      </a:lnTo>
                      <a:lnTo>
                        <a:pt x="1738" y="849"/>
                      </a:lnTo>
                      <a:lnTo>
                        <a:pt x="1732" y="824"/>
                      </a:lnTo>
                      <a:lnTo>
                        <a:pt x="1752" y="808"/>
                      </a:lnTo>
                      <a:lnTo>
                        <a:pt x="1752" y="797"/>
                      </a:lnTo>
                      <a:lnTo>
                        <a:pt x="1759" y="800"/>
                      </a:lnTo>
                      <a:lnTo>
                        <a:pt x="1796" y="756"/>
                      </a:lnTo>
                      <a:lnTo>
                        <a:pt x="1805" y="684"/>
                      </a:lnTo>
                      <a:lnTo>
                        <a:pt x="1810" y="655"/>
                      </a:lnTo>
                      <a:lnTo>
                        <a:pt x="1794" y="664"/>
                      </a:lnTo>
                      <a:lnTo>
                        <a:pt x="1788" y="655"/>
                      </a:lnTo>
                      <a:lnTo>
                        <a:pt x="1800" y="638"/>
                      </a:lnTo>
                      <a:lnTo>
                        <a:pt x="1776" y="592"/>
                      </a:lnTo>
                      <a:lnTo>
                        <a:pt x="1763" y="580"/>
                      </a:lnTo>
                      <a:lnTo>
                        <a:pt x="1783" y="544"/>
                      </a:lnTo>
                      <a:lnTo>
                        <a:pt x="1762" y="539"/>
                      </a:lnTo>
                      <a:lnTo>
                        <a:pt x="1743" y="531"/>
                      </a:lnTo>
                      <a:lnTo>
                        <a:pt x="1751" y="503"/>
                      </a:lnTo>
                      <a:lnTo>
                        <a:pt x="1763" y="487"/>
                      </a:lnTo>
                      <a:lnTo>
                        <a:pt x="1766" y="519"/>
                      </a:lnTo>
                      <a:lnTo>
                        <a:pt x="1788" y="498"/>
                      </a:lnTo>
                      <a:lnTo>
                        <a:pt x="1805" y="497"/>
                      </a:lnTo>
                      <a:lnTo>
                        <a:pt x="1797" y="519"/>
                      </a:lnTo>
                      <a:lnTo>
                        <a:pt x="1824" y="528"/>
                      </a:lnTo>
                      <a:lnTo>
                        <a:pt x="1816" y="545"/>
                      </a:lnTo>
                      <a:lnTo>
                        <a:pt x="1830" y="559"/>
                      </a:lnTo>
                      <a:lnTo>
                        <a:pt x="1830" y="588"/>
                      </a:lnTo>
                      <a:lnTo>
                        <a:pt x="1861" y="559"/>
                      </a:lnTo>
                      <a:lnTo>
                        <a:pt x="1850" y="531"/>
                      </a:lnTo>
                      <a:lnTo>
                        <a:pt x="1821" y="489"/>
                      </a:lnTo>
                      <a:lnTo>
                        <a:pt x="1830" y="473"/>
                      </a:lnTo>
                      <a:lnTo>
                        <a:pt x="1824" y="448"/>
                      </a:lnTo>
                      <a:lnTo>
                        <a:pt x="1844" y="427"/>
                      </a:lnTo>
                      <a:lnTo>
                        <a:pt x="1868" y="416"/>
                      </a:lnTo>
                      <a:lnTo>
                        <a:pt x="1867" y="367"/>
                      </a:lnTo>
                      <a:lnTo>
                        <a:pt x="1865" y="333"/>
                      </a:lnTo>
                      <a:lnTo>
                        <a:pt x="1858" y="302"/>
                      </a:lnTo>
                      <a:lnTo>
                        <a:pt x="1830" y="248"/>
                      </a:lnTo>
                      <a:lnTo>
                        <a:pt x="1825" y="275"/>
                      </a:lnTo>
                      <a:lnTo>
                        <a:pt x="1807" y="258"/>
                      </a:lnTo>
                      <a:lnTo>
                        <a:pt x="1790" y="266"/>
                      </a:lnTo>
                      <a:lnTo>
                        <a:pt x="1805" y="226"/>
                      </a:lnTo>
                      <a:lnTo>
                        <a:pt x="1821" y="192"/>
                      </a:lnTo>
                      <a:lnTo>
                        <a:pt x="1850" y="176"/>
                      </a:lnTo>
                      <a:lnTo>
                        <a:pt x="1853" y="161"/>
                      </a:lnTo>
                      <a:lnTo>
                        <a:pt x="1873" y="155"/>
                      </a:lnTo>
                      <a:lnTo>
                        <a:pt x="1873" y="170"/>
                      </a:lnTo>
                      <a:lnTo>
                        <a:pt x="1896" y="145"/>
                      </a:lnTo>
                      <a:lnTo>
                        <a:pt x="1882" y="139"/>
                      </a:lnTo>
                      <a:lnTo>
                        <a:pt x="1882" y="120"/>
                      </a:lnTo>
                      <a:lnTo>
                        <a:pt x="1899" y="108"/>
                      </a:lnTo>
                      <a:lnTo>
                        <a:pt x="1906" y="122"/>
                      </a:lnTo>
                      <a:lnTo>
                        <a:pt x="1929" y="100"/>
                      </a:lnTo>
                      <a:lnTo>
                        <a:pt x="1926" y="120"/>
                      </a:lnTo>
                      <a:lnTo>
                        <a:pt x="1927" y="136"/>
                      </a:lnTo>
                      <a:lnTo>
                        <a:pt x="1926" y="158"/>
                      </a:lnTo>
                      <a:lnTo>
                        <a:pt x="1918" y="175"/>
                      </a:lnTo>
                      <a:lnTo>
                        <a:pt x="1932" y="197"/>
                      </a:lnTo>
                      <a:lnTo>
                        <a:pt x="1938" y="212"/>
                      </a:lnTo>
                      <a:lnTo>
                        <a:pt x="1947" y="209"/>
                      </a:lnTo>
                      <a:lnTo>
                        <a:pt x="1992" y="256"/>
                      </a:lnTo>
                      <a:lnTo>
                        <a:pt x="2002" y="233"/>
                      </a:lnTo>
                      <a:lnTo>
                        <a:pt x="2014" y="216"/>
                      </a:lnTo>
                      <a:lnTo>
                        <a:pt x="1994" y="205"/>
                      </a:lnTo>
                      <a:lnTo>
                        <a:pt x="1999" y="184"/>
                      </a:lnTo>
                      <a:lnTo>
                        <a:pt x="1999" y="172"/>
                      </a:lnTo>
                      <a:lnTo>
                        <a:pt x="1978" y="150"/>
                      </a:lnTo>
                      <a:lnTo>
                        <a:pt x="1960" y="147"/>
                      </a:lnTo>
                      <a:lnTo>
                        <a:pt x="1943" y="123"/>
                      </a:lnTo>
                      <a:lnTo>
                        <a:pt x="1966" y="119"/>
                      </a:lnTo>
                      <a:lnTo>
                        <a:pt x="1977" y="100"/>
                      </a:lnTo>
                      <a:lnTo>
                        <a:pt x="1991" y="106"/>
                      </a:lnTo>
                      <a:lnTo>
                        <a:pt x="2005" y="98"/>
                      </a:lnTo>
                      <a:lnTo>
                        <a:pt x="1990" y="80"/>
                      </a:lnTo>
                      <a:lnTo>
                        <a:pt x="2002" y="69"/>
                      </a:lnTo>
                      <a:lnTo>
                        <a:pt x="2021" y="68"/>
                      </a:lnTo>
                      <a:lnTo>
                        <a:pt x="2000" y="53"/>
                      </a:lnTo>
                      <a:lnTo>
                        <a:pt x="1975" y="51"/>
                      </a:lnTo>
                      <a:lnTo>
                        <a:pt x="1990" y="32"/>
                      </a:lnTo>
                      <a:lnTo>
                        <a:pt x="1989" y="11"/>
                      </a:lnTo>
                      <a:lnTo>
                        <a:pt x="2005" y="27"/>
                      </a:lnTo>
                      <a:lnTo>
                        <a:pt x="2015" y="18"/>
                      </a:lnTo>
                      <a:lnTo>
                        <a:pt x="2024" y="21"/>
                      </a:lnTo>
                      <a:lnTo>
                        <a:pt x="2038" y="36"/>
                      </a:lnTo>
                      <a:lnTo>
                        <a:pt x="2060" y="33"/>
                      </a:lnTo>
                      <a:lnTo>
                        <a:pt x="2042" y="15"/>
                      </a:lnTo>
                      <a:lnTo>
                        <a:pt x="2038" y="0"/>
                      </a:lnTo>
                      <a:lnTo>
                        <a:pt x="2006" y="5"/>
                      </a:lnTo>
                      <a:lnTo>
                        <a:pt x="1994" y="0"/>
                      </a:lnTo>
                      <a:lnTo>
                        <a:pt x="1955" y="11"/>
                      </a:lnTo>
                      <a:lnTo>
                        <a:pt x="1913" y="18"/>
                      </a:lnTo>
                      <a:lnTo>
                        <a:pt x="1886" y="30"/>
                      </a:lnTo>
                      <a:lnTo>
                        <a:pt x="1885" y="47"/>
                      </a:lnTo>
                      <a:lnTo>
                        <a:pt x="1864" y="50"/>
                      </a:lnTo>
                      <a:cubicBezTo>
                        <a:pt x="1858" y="55"/>
                        <a:pt x="1854" y="75"/>
                        <a:pt x="1847" y="77"/>
                      </a:cubicBezTo>
                      <a:cubicBezTo>
                        <a:pt x="1839" y="82"/>
                        <a:pt x="1830" y="65"/>
                        <a:pt x="1820" y="63"/>
                      </a:cubicBezTo>
                      <a:lnTo>
                        <a:pt x="1786" y="66"/>
                      </a:lnTo>
                      <a:lnTo>
                        <a:pt x="1732" y="56"/>
                      </a:lnTo>
                      <a:lnTo>
                        <a:pt x="1709" y="62"/>
                      </a:lnTo>
                      <a:lnTo>
                        <a:pt x="1678" y="56"/>
                      </a:lnTo>
                      <a:lnTo>
                        <a:pt x="1666" y="47"/>
                      </a:lnTo>
                      <a:lnTo>
                        <a:pt x="1643" y="50"/>
                      </a:lnTo>
                      <a:cubicBezTo>
                        <a:pt x="1635" y="52"/>
                        <a:pt x="1626" y="57"/>
                        <a:pt x="1618" y="60"/>
                      </a:cubicBezTo>
                      <a:cubicBezTo>
                        <a:pt x="1610" y="63"/>
                        <a:pt x="1603" y="67"/>
                        <a:pt x="1597" y="71"/>
                      </a:cubicBezTo>
                      <a:cubicBezTo>
                        <a:pt x="1591" y="75"/>
                        <a:pt x="1587" y="84"/>
                        <a:pt x="1583" y="83"/>
                      </a:cubicBezTo>
                      <a:cubicBezTo>
                        <a:pt x="1571" y="90"/>
                        <a:pt x="1576" y="67"/>
                        <a:pt x="1571" y="65"/>
                      </a:cubicBezTo>
                      <a:lnTo>
                        <a:pt x="1553" y="69"/>
                      </a:lnTo>
                      <a:cubicBezTo>
                        <a:pt x="1544" y="66"/>
                        <a:pt x="1531" y="50"/>
                        <a:pt x="1517" y="47"/>
                      </a:cubicBezTo>
                      <a:cubicBezTo>
                        <a:pt x="1503" y="46"/>
                        <a:pt x="1479" y="45"/>
                        <a:pt x="1468" y="48"/>
                      </a:cubicBezTo>
                      <a:cubicBezTo>
                        <a:pt x="1457" y="51"/>
                        <a:pt x="1461" y="63"/>
                        <a:pt x="1451" y="63"/>
                      </a:cubicBezTo>
                      <a:cubicBezTo>
                        <a:pt x="1439" y="66"/>
                        <a:pt x="1419" y="48"/>
                        <a:pt x="1408" y="47"/>
                      </a:cubicBezTo>
                      <a:cubicBezTo>
                        <a:pt x="1397" y="46"/>
                        <a:pt x="1390" y="59"/>
                        <a:pt x="1382" y="59"/>
                      </a:cubicBezTo>
                      <a:cubicBezTo>
                        <a:pt x="1374" y="59"/>
                        <a:pt x="1362" y="52"/>
                        <a:pt x="1357" y="47"/>
                      </a:cubicBezTo>
                      <a:cubicBezTo>
                        <a:pt x="1352" y="42"/>
                        <a:pt x="1356" y="36"/>
                        <a:pt x="1349" y="30"/>
                      </a:cubicBezTo>
                      <a:cubicBezTo>
                        <a:pt x="1333" y="26"/>
                        <a:pt x="1330" y="13"/>
                        <a:pt x="1318" y="11"/>
                      </a:cubicBezTo>
                      <a:cubicBezTo>
                        <a:pt x="1306" y="9"/>
                        <a:pt x="1287" y="20"/>
                        <a:pt x="1277" y="20"/>
                      </a:cubicBezTo>
                      <a:cubicBezTo>
                        <a:pt x="1267" y="20"/>
                        <a:pt x="1268" y="10"/>
                        <a:pt x="1259" y="9"/>
                      </a:cubicBezTo>
                      <a:lnTo>
                        <a:pt x="1222" y="14"/>
                      </a:lnTo>
                      <a:lnTo>
                        <a:pt x="1210" y="32"/>
                      </a:lnTo>
                      <a:cubicBezTo>
                        <a:pt x="1203" y="35"/>
                        <a:pt x="1187" y="28"/>
                        <a:pt x="1178" y="29"/>
                      </a:cubicBezTo>
                      <a:cubicBezTo>
                        <a:pt x="1169" y="30"/>
                        <a:pt x="1164" y="36"/>
                        <a:pt x="1154" y="39"/>
                      </a:cubicBezTo>
                      <a:cubicBezTo>
                        <a:pt x="1144" y="42"/>
                        <a:pt x="1124" y="44"/>
                        <a:pt x="1120" y="48"/>
                      </a:cubicBezTo>
                      <a:cubicBezTo>
                        <a:pt x="1109" y="57"/>
                        <a:pt x="1132" y="61"/>
                        <a:pt x="1132" y="65"/>
                      </a:cubicBezTo>
                      <a:cubicBezTo>
                        <a:pt x="1132" y="69"/>
                        <a:pt x="1126" y="70"/>
                        <a:pt x="1118" y="72"/>
                      </a:cubicBezTo>
                      <a:cubicBezTo>
                        <a:pt x="1110" y="74"/>
                        <a:pt x="1084" y="72"/>
                        <a:pt x="1085" y="77"/>
                      </a:cubicBezTo>
                      <a:cubicBezTo>
                        <a:pt x="1085" y="86"/>
                        <a:pt x="1126" y="103"/>
                        <a:pt x="1127" y="105"/>
                      </a:cubicBezTo>
                      <a:lnTo>
                        <a:pt x="1090" y="90"/>
                      </a:lnTo>
                      <a:lnTo>
                        <a:pt x="1072" y="95"/>
                      </a:lnTo>
                      <a:cubicBezTo>
                        <a:pt x="1063" y="93"/>
                        <a:pt x="1039" y="65"/>
                        <a:pt x="1033" y="80"/>
                      </a:cubicBezTo>
                      <a:cubicBezTo>
                        <a:pt x="1027" y="95"/>
                        <a:pt x="1077" y="132"/>
                        <a:pt x="1084" y="147"/>
                      </a:cubicBezTo>
                      <a:lnTo>
                        <a:pt x="1075" y="171"/>
                      </a:lnTo>
                      <a:lnTo>
                        <a:pt x="1040" y="170"/>
                      </a:lnTo>
                      <a:cubicBezTo>
                        <a:pt x="1040" y="170"/>
                        <a:pt x="1061" y="164"/>
                        <a:pt x="1060" y="155"/>
                      </a:cubicBezTo>
                      <a:cubicBezTo>
                        <a:pt x="1059" y="146"/>
                        <a:pt x="1043" y="127"/>
                        <a:pt x="1031" y="113"/>
                      </a:cubicBezTo>
                      <a:cubicBezTo>
                        <a:pt x="1025" y="101"/>
                        <a:pt x="1030" y="84"/>
                        <a:pt x="1024" y="81"/>
                      </a:cubicBezTo>
                      <a:cubicBezTo>
                        <a:pt x="1018" y="78"/>
                        <a:pt x="997" y="65"/>
                        <a:pt x="989" y="71"/>
                      </a:cubicBezTo>
                      <a:cubicBezTo>
                        <a:pt x="968" y="74"/>
                        <a:pt x="970" y="107"/>
                        <a:pt x="974" y="116"/>
                      </a:cubicBezTo>
                      <a:cubicBezTo>
                        <a:pt x="978" y="125"/>
                        <a:pt x="1009" y="122"/>
                        <a:pt x="1012" y="125"/>
                      </a:cubicBezTo>
                      <a:cubicBezTo>
                        <a:pt x="1028" y="153"/>
                        <a:pt x="1005" y="143"/>
                        <a:pt x="989" y="134"/>
                      </a:cubicBezTo>
                      <a:cubicBezTo>
                        <a:pt x="973" y="125"/>
                        <a:pt x="968" y="128"/>
                        <a:pt x="958" y="128"/>
                      </a:cubicBezTo>
                      <a:cubicBezTo>
                        <a:pt x="948" y="128"/>
                        <a:pt x="931" y="133"/>
                        <a:pt x="926" y="137"/>
                      </a:cubicBezTo>
                      <a:cubicBezTo>
                        <a:pt x="921" y="141"/>
                        <a:pt x="939" y="157"/>
                        <a:pt x="926" y="152"/>
                      </a:cubicBezTo>
                      <a:cubicBezTo>
                        <a:pt x="913" y="147"/>
                        <a:pt x="899" y="149"/>
                        <a:pt x="886" y="147"/>
                      </a:cubicBezTo>
                      <a:cubicBezTo>
                        <a:pt x="873" y="145"/>
                        <a:pt x="863" y="136"/>
                        <a:pt x="847" y="140"/>
                      </a:cubicBezTo>
                      <a:cubicBezTo>
                        <a:pt x="825" y="147"/>
                        <a:pt x="794" y="185"/>
                        <a:pt x="787" y="171"/>
                      </a:cubicBezTo>
                      <a:cubicBezTo>
                        <a:pt x="780" y="157"/>
                        <a:pt x="800" y="155"/>
                        <a:pt x="800" y="150"/>
                      </a:cubicBezTo>
                      <a:cubicBezTo>
                        <a:pt x="800" y="145"/>
                        <a:pt x="796" y="138"/>
                        <a:pt x="790" y="138"/>
                      </a:cubicBezTo>
                      <a:cubicBezTo>
                        <a:pt x="784" y="138"/>
                        <a:pt x="764" y="144"/>
                        <a:pt x="763" y="152"/>
                      </a:cubicBezTo>
                      <a:cubicBezTo>
                        <a:pt x="761" y="163"/>
                        <a:pt x="783" y="181"/>
                        <a:pt x="782" y="186"/>
                      </a:cubicBezTo>
                      <a:cubicBezTo>
                        <a:pt x="781" y="191"/>
                        <a:pt x="765" y="180"/>
                        <a:pt x="758" y="183"/>
                      </a:cubicBezTo>
                      <a:cubicBezTo>
                        <a:pt x="751" y="186"/>
                        <a:pt x="746" y="207"/>
                        <a:pt x="742" y="203"/>
                      </a:cubicBezTo>
                      <a:lnTo>
                        <a:pt x="728" y="189"/>
                      </a:lnTo>
                      <a:lnTo>
                        <a:pt x="746" y="170"/>
                      </a:lnTo>
                      <a:lnTo>
                        <a:pt x="733" y="158"/>
                      </a:lnTo>
                      <a:cubicBezTo>
                        <a:pt x="727" y="155"/>
                        <a:pt x="718" y="150"/>
                        <a:pt x="712" y="149"/>
                      </a:cubicBezTo>
                      <a:cubicBezTo>
                        <a:pt x="706" y="148"/>
                        <a:pt x="701" y="154"/>
                        <a:pt x="698" y="152"/>
                      </a:cubicBezTo>
                      <a:cubicBezTo>
                        <a:pt x="695" y="150"/>
                        <a:pt x="698" y="139"/>
                        <a:pt x="695" y="138"/>
                      </a:cubicBezTo>
                      <a:cubicBezTo>
                        <a:pt x="692" y="137"/>
                        <a:pt x="685" y="146"/>
                        <a:pt x="680" y="146"/>
                      </a:cubicBezTo>
                      <a:cubicBezTo>
                        <a:pt x="675" y="146"/>
                        <a:pt x="677" y="142"/>
                        <a:pt x="667" y="140"/>
                      </a:cubicBezTo>
                      <a:cubicBezTo>
                        <a:pt x="657" y="138"/>
                        <a:pt x="632" y="139"/>
                        <a:pt x="622" y="135"/>
                      </a:cubicBezTo>
                      <a:cubicBezTo>
                        <a:pt x="612" y="131"/>
                        <a:pt x="632" y="117"/>
                        <a:pt x="608" y="113"/>
                      </a:cubicBezTo>
                      <a:cubicBezTo>
                        <a:pt x="584" y="109"/>
                        <a:pt x="590" y="119"/>
                        <a:pt x="583" y="119"/>
                      </a:cubicBezTo>
                      <a:lnTo>
                        <a:pt x="568" y="114"/>
                      </a:lnTo>
                      <a:cubicBezTo>
                        <a:pt x="555" y="116"/>
                        <a:pt x="521" y="125"/>
                        <a:pt x="505" y="131"/>
                      </a:cubicBezTo>
                      <a:cubicBezTo>
                        <a:pt x="482" y="140"/>
                        <a:pt x="485" y="140"/>
                        <a:pt x="472" y="152"/>
                      </a:cubicBezTo>
                      <a:cubicBezTo>
                        <a:pt x="459" y="164"/>
                        <a:pt x="443" y="192"/>
                        <a:pt x="428" y="204"/>
                      </a:cubicBezTo>
                      <a:cubicBezTo>
                        <a:pt x="410" y="223"/>
                        <a:pt x="393" y="217"/>
                        <a:pt x="382" y="224"/>
                      </a:cubicBezTo>
                      <a:lnTo>
                        <a:pt x="364" y="248"/>
                      </a:lnTo>
                      <a:lnTo>
                        <a:pt x="368" y="290"/>
                      </a:lnTo>
                      <a:lnTo>
                        <a:pt x="389" y="306"/>
                      </a:lnTo>
                      <a:lnTo>
                        <a:pt x="436" y="290"/>
                      </a:lnTo>
                      <a:cubicBezTo>
                        <a:pt x="447" y="296"/>
                        <a:pt x="448" y="335"/>
                        <a:pt x="457" y="341"/>
                      </a:cubicBezTo>
                      <a:cubicBezTo>
                        <a:pt x="468" y="348"/>
                        <a:pt x="486" y="330"/>
                        <a:pt x="491" y="324"/>
                      </a:cubicBezTo>
                      <a:lnTo>
                        <a:pt x="496" y="300"/>
                      </a:lnTo>
                      <a:lnTo>
                        <a:pt x="514" y="281"/>
                      </a:lnTo>
                      <a:cubicBezTo>
                        <a:pt x="515" y="270"/>
                        <a:pt x="499" y="245"/>
                        <a:pt x="502" y="234"/>
                      </a:cubicBezTo>
                      <a:cubicBezTo>
                        <a:pt x="505" y="225"/>
                        <a:pt x="526" y="220"/>
                        <a:pt x="535" y="213"/>
                      </a:cubicBezTo>
                      <a:cubicBezTo>
                        <a:pt x="544" y="206"/>
                        <a:pt x="546" y="192"/>
                        <a:pt x="554" y="191"/>
                      </a:cubicBezTo>
                      <a:cubicBezTo>
                        <a:pt x="567" y="190"/>
                        <a:pt x="580" y="200"/>
                        <a:pt x="581" y="204"/>
                      </a:cubicBezTo>
                      <a:cubicBezTo>
                        <a:pt x="581" y="208"/>
                        <a:pt x="560" y="200"/>
                        <a:pt x="557" y="215"/>
                      </a:cubicBezTo>
                      <a:cubicBezTo>
                        <a:pt x="554" y="230"/>
                        <a:pt x="535" y="233"/>
                        <a:pt x="533" y="242"/>
                      </a:cubicBezTo>
                      <a:lnTo>
                        <a:pt x="548" y="267"/>
                      </a:lnTo>
                      <a:lnTo>
                        <a:pt x="571" y="276"/>
                      </a:lnTo>
                      <a:lnTo>
                        <a:pt x="598" y="264"/>
                      </a:lnTo>
                      <a:lnTo>
                        <a:pt x="625" y="261"/>
                      </a:lnTo>
                      <a:cubicBezTo>
                        <a:pt x="632" y="263"/>
                        <a:pt x="645" y="271"/>
                        <a:pt x="638" y="276"/>
                      </a:cubicBezTo>
                      <a:cubicBezTo>
                        <a:pt x="631" y="281"/>
                        <a:pt x="593" y="287"/>
                        <a:pt x="584" y="293"/>
                      </a:cubicBezTo>
                      <a:cubicBezTo>
                        <a:pt x="575" y="299"/>
                        <a:pt x="587" y="309"/>
                        <a:pt x="581" y="311"/>
                      </a:cubicBezTo>
                      <a:cubicBezTo>
                        <a:pt x="567" y="319"/>
                        <a:pt x="556" y="301"/>
                        <a:pt x="550" y="303"/>
                      </a:cubicBezTo>
                      <a:lnTo>
                        <a:pt x="547" y="323"/>
                      </a:lnTo>
                      <a:lnTo>
                        <a:pt x="536" y="350"/>
                      </a:lnTo>
                      <a:lnTo>
                        <a:pt x="512" y="351"/>
                      </a:lnTo>
                      <a:lnTo>
                        <a:pt x="476" y="360"/>
                      </a:lnTo>
                      <a:lnTo>
                        <a:pt x="457" y="351"/>
                      </a:lnTo>
                      <a:lnTo>
                        <a:pt x="443" y="357"/>
                      </a:lnTo>
                      <a:lnTo>
                        <a:pt x="419" y="342"/>
                      </a:lnTo>
                      <a:cubicBezTo>
                        <a:pt x="417" y="335"/>
                        <a:pt x="433" y="329"/>
                        <a:pt x="428" y="317"/>
                      </a:cubicBezTo>
                      <a:cubicBezTo>
                        <a:pt x="423" y="305"/>
                        <a:pt x="396" y="313"/>
                        <a:pt x="392" y="321"/>
                      </a:cubicBezTo>
                      <a:lnTo>
                        <a:pt x="397" y="362"/>
                      </a:lnTo>
                      <a:lnTo>
                        <a:pt x="373" y="362"/>
                      </a:lnTo>
                      <a:cubicBezTo>
                        <a:pt x="365" y="366"/>
                        <a:pt x="355" y="380"/>
                        <a:pt x="347" y="386"/>
                      </a:cubicBezTo>
                      <a:cubicBezTo>
                        <a:pt x="339" y="392"/>
                        <a:pt x="332" y="379"/>
                        <a:pt x="322" y="399"/>
                      </a:cubicBezTo>
                      <a:cubicBezTo>
                        <a:pt x="312" y="419"/>
                        <a:pt x="301" y="411"/>
                        <a:pt x="293" y="414"/>
                      </a:cubicBezTo>
                      <a:cubicBezTo>
                        <a:pt x="285" y="417"/>
                        <a:pt x="280" y="414"/>
                        <a:pt x="275" y="416"/>
                      </a:cubicBezTo>
                      <a:cubicBezTo>
                        <a:pt x="270" y="418"/>
                        <a:pt x="267" y="426"/>
                        <a:pt x="260" y="426"/>
                      </a:cubicBezTo>
                      <a:cubicBezTo>
                        <a:pt x="253" y="426"/>
                        <a:pt x="238" y="417"/>
                        <a:pt x="232" y="419"/>
                      </a:cubicBezTo>
                      <a:cubicBezTo>
                        <a:pt x="226" y="421"/>
                        <a:pt x="221" y="432"/>
                        <a:pt x="226" y="437"/>
                      </a:cubicBezTo>
                      <a:lnTo>
                        <a:pt x="263" y="449"/>
                      </a:lnTo>
                      <a:lnTo>
                        <a:pt x="272" y="474"/>
                      </a:lnTo>
                      <a:lnTo>
                        <a:pt x="262" y="503"/>
                      </a:lnTo>
                      <a:cubicBezTo>
                        <a:pt x="251" y="507"/>
                        <a:pt x="223" y="499"/>
                        <a:pt x="206" y="498"/>
                      </a:cubicBezTo>
                      <a:cubicBezTo>
                        <a:pt x="189" y="497"/>
                        <a:pt x="164" y="492"/>
                        <a:pt x="158" y="498"/>
                      </a:cubicBezTo>
                      <a:cubicBezTo>
                        <a:pt x="152" y="504"/>
                        <a:pt x="167" y="527"/>
                        <a:pt x="167" y="537"/>
                      </a:cubicBezTo>
                      <a:cubicBezTo>
                        <a:pt x="167" y="547"/>
                        <a:pt x="159" y="551"/>
                        <a:pt x="157" y="557"/>
                      </a:cubicBezTo>
                      <a:cubicBezTo>
                        <a:pt x="155" y="563"/>
                        <a:pt x="161" y="569"/>
                        <a:pt x="157" y="576"/>
                      </a:cubicBezTo>
                      <a:cubicBezTo>
                        <a:pt x="153" y="583"/>
                        <a:pt x="127" y="594"/>
                        <a:pt x="130" y="597"/>
                      </a:cubicBezTo>
                      <a:cubicBezTo>
                        <a:pt x="139" y="606"/>
                        <a:pt x="160" y="592"/>
                        <a:pt x="176" y="592"/>
                      </a:cubicBezTo>
                      <a:lnTo>
                        <a:pt x="226" y="598"/>
                      </a:lnTo>
                      <a:lnTo>
                        <a:pt x="260" y="588"/>
                      </a:lnTo>
                      <a:lnTo>
                        <a:pt x="274" y="576"/>
                      </a:lnTo>
                      <a:cubicBezTo>
                        <a:pt x="282" y="573"/>
                        <a:pt x="306" y="573"/>
                        <a:pt x="307" y="569"/>
                      </a:cubicBezTo>
                      <a:cubicBezTo>
                        <a:pt x="321" y="557"/>
                        <a:pt x="283" y="559"/>
                        <a:pt x="283" y="552"/>
                      </a:cubicBezTo>
                      <a:cubicBezTo>
                        <a:pt x="283" y="545"/>
                        <a:pt x="300" y="533"/>
                        <a:pt x="307" y="528"/>
                      </a:cubicBezTo>
                      <a:lnTo>
                        <a:pt x="325" y="522"/>
                      </a:lnTo>
                      <a:lnTo>
                        <a:pt x="320" y="503"/>
                      </a:lnTo>
                      <a:cubicBezTo>
                        <a:pt x="323" y="499"/>
                        <a:pt x="336" y="495"/>
                        <a:pt x="342" y="495"/>
                      </a:cubicBezTo>
                      <a:cubicBezTo>
                        <a:pt x="348" y="495"/>
                        <a:pt x="350" y="506"/>
                        <a:pt x="358" y="505"/>
                      </a:cubicBezTo>
                      <a:cubicBezTo>
                        <a:pt x="366" y="504"/>
                        <a:pt x="384" y="490"/>
                        <a:pt x="393" y="491"/>
                      </a:cubicBezTo>
                      <a:lnTo>
                        <a:pt x="415" y="510"/>
                      </a:lnTo>
                      <a:cubicBezTo>
                        <a:pt x="416" y="517"/>
                        <a:pt x="407" y="520"/>
                        <a:pt x="401" y="530"/>
                      </a:cubicBezTo>
                      <a:lnTo>
                        <a:pt x="381" y="573"/>
                      </a:lnTo>
                      <a:lnTo>
                        <a:pt x="406" y="576"/>
                      </a:lnTo>
                      <a:lnTo>
                        <a:pt x="412" y="561"/>
                      </a:lnTo>
                      <a:lnTo>
                        <a:pt x="404" y="543"/>
                      </a:lnTo>
                      <a:cubicBezTo>
                        <a:pt x="406" y="539"/>
                        <a:pt x="417" y="541"/>
                        <a:pt x="423" y="538"/>
                      </a:cubicBezTo>
                      <a:cubicBezTo>
                        <a:pt x="430" y="537"/>
                        <a:pt x="435" y="526"/>
                        <a:pt x="441" y="527"/>
                      </a:cubicBezTo>
                      <a:cubicBezTo>
                        <a:pt x="447" y="528"/>
                        <a:pt x="453" y="542"/>
                        <a:pt x="460" y="547"/>
                      </a:cubicBezTo>
                      <a:lnTo>
                        <a:pt x="483" y="559"/>
                      </a:lnTo>
                      <a:lnTo>
                        <a:pt x="490" y="573"/>
                      </a:lnTo>
                      <a:lnTo>
                        <a:pt x="493" y="590"/>
                      </a:lnTo>
                      <a:lnTo>
                        <a:pt x="508" y="579"/>
                      </a:lnTo>
                      <a:cubicBezTo>
                        <a:pt x="508" y="579"/>
                        <a:pt x="507" y="566"/>
                        <a:pt x="509" y="564"/>
                      </a:cubicBezTo>
                      <a:cubicBezTo>
                        <a:pt x="513" y="561"/>
                        <a:pt x="512" y="581"/>
                        <a:pt x="521" y="569"/>
                      </a:cubicBezTo>
                      <a:cubicBezTo>
                        <a:pt x="530" y="557"/>
                        <a:pt x="525" y="556"/>
                        <a:pt x="515" y="549"/>
                      </a:cubicBezTo>
                      <a:lnTo>
                        <a:pt x="468" y="523"/>
                      </a:lnTo>
                      <a:lnTo>
                        <a:pt x="441" y="508"/>
                      </a:lnTo>
                      <a:lnTo>
                        <a:pt x="455" y="480"/>
                      </a:lnTo>
                      <a:lnTo>
                        <a:pt x="464" y="498"/>
                      </a:lnTo>
                      <a:lnTo>
                        <a:pt x="487" y="512"/>
                      </a:lnTo>
                      <a:lnTo>
                        <a:pt x="517" y="527"/>
                      </a:lnTo>
                      <a:cubicBezTo>
                        <a:pt x="526" y="535"/>
                        <a:pt x="529" y="546"/>
                        <a:pt x="539" y="559"/>
                      </a:cubicBezTo>
                      <a:cubicBezTo>
                        <a:pt x="549" y="572"/>
                        <a:pt x="570" y="602"/>
                        <a:pt x="579" y="608"/>
                      </a:cubicBezTo>
                      <a:cubicBezTo>
                        <a:pt x="588" y="614"/>
                        <a:pt x="588" y="598"/>
                        <a:pt x="592" y="597"/>
                      </a:cubicBezTo>
                      <a:cubicBezTo>
                        <a:pt x="596" y="594"/>
                        <a:pt x="604" y="602"/>
                        <a:pt x="604" y="599"/>
                      </a:cubicBezTo>
                      <a:cubicBezTo>
                        <a:pt x="604" y="596"/>
                        <a:pt x="596" y="583"/>
                        <a:pt x="593" y="578"/>
                      </a:cubicBezTo>
                      <a:cubicBezTo>
                        <a:pt x="589" y="574"/>
                        <a:pt x="590" y="568"/>
                        <a:pt x="587" y="567"/>
                      </a:cubicBezTo>
                      <a:cubicBezTo>
                        <a:pt x="585" y="563"/>
                        <a:pt x="583" y="558"/>
                        <a:pt x="584" y="555"/>
                      </a:cubicBezTo>
                      <a:cubicBezTo>
                        <a:pt x="585" y="552"/>
                        <a:pt x="589" y="550"/>
                        <a:pt x="592" y="548"/>
                      </a:cubicBezTo>
                      <a:lnTo>
                        <a:pt x="601" y="542"/>
                      </a:lnTo>
                      <a:cubicBezTo>
                        <a:pt x="607" y="541"/>
                        <a:pt x="621" y="541"/>
                        <a:pt x="627" y="541"/>
                      </a:cubicBezTo>
                      <a:cubicBezTo>
                        <a:pt x="633" y="541"/>
                        <a:pt x="636" y="541"/>
                        <a:pt x="640" y="539"/>
                      </a:cubicBezTo>
                      <a:cubicBezTo>
                        <a:pt x="644" y="537"/>
                        <a:pt x="648" y="532"/>
                        <a:pt x="650" y="528"/>
                      </a:cubicBezTo>
                      <a:lnTo>
                        <a:pt x="653" y="513"/>
                      </a:lnTo>
                      <a:lnTo>
                        <a:pt x="639" y="505"/>
                      </a:lnTo>
                      <a:cubicBezTo>
                        <a:pt x="639" y="503"/>
                        <a:pt x="650" y="505"/>
                        <a:pt x="655" y="501"/>
                      </a:cubicBezTo>
                      <a:cubicBezTo>
                        <a:pt x="660" y="497"/>
                        <a:pt x="665" y="488"/>
                        <a:pt x="670" y="483"/>
                      </a:cubicBezTo>
                      <a:cubicBezTo>
                        <a:pt x="675" y="478"/>
                        <a:pt x="681" y="471"/>
                        <a:pt x="686" y="470"/>
                      </a:cubicBezTo>
                      <a:lnTo>
                        <a:pt x="703" y="476"/>
                      </a:lnTo>
                      <a:lnTo>
                        <a:pt x="718" y="494"/>
                      </a:lnTo>
                      <a:cubicBezTo>
                        <a:pt x="723" y="498"/>
                        <a:pt x="727" y="503"/>
                        <a:pt x="731" y="501"/>
                      </a:cubicBezTo>
                      <a:cubicBezTo>
                        <a:pt x="735" y="499"/>
                        <a:pt x="742" y="488"/>
                        <a:pt x="742" y="482"/>
                      </a:cubicBezTo>
                      <a:lnTo>
                        <a:pt x="728" y="466"/>
                      </a:lnTo>
                      <a:cubicBezTo>
                        <a:pt x="730" y="462"/>
                        <a:pt x="746" y="463"/>
                        <a:pt x="755" y="459"/>
                      </a:cubicBezTo>
                      <a:cubicBezTo>
                        <a:pt x="764" y="455"/>
                        <a:pt x="777" y="444"/>
                        <a:pt x="782" y="444"/>
                      </a:cubicBezTo>
                      <a:cubicBezTo>
                        <a:pt x="787" y="444"/>
                        <a:pt x="786" y="452"/>
                        <a:pt x="784" y="458"/>
                      </a:cubicBezTo>
                      <a:cubicBezTo>
                        <a:pt x="782" y="464"/>
                        <a:pt x="765" y="469"/>
                        <a:pt x="772" y="480"/>
                      </a:cubicBezTo>
                      <a:cubicBezTo>
                        <a:pt x="779" y="491"/>
                        <a:pt x="820" y="516"/>
                        <a:pt x="824" y="525"/>
                      </a:cubicBezTo>
                      <a:cubicBezTo>
                        <a:pt x="828" y="534"/>
                        <a:pt x="808" y="535"/>
                        <a:pt x="796" y="537"/>
                      </a:cubicBezTo>
                      <a:cubicBezTo>
                        <a:pt x="784" y="539"/>
                        <a:pt x="763" y="541"/>
                        <a:pt x="751" y="539"/>
                      </a:cubicBezTo>
                      <a:cubicBezTo>
                        <a:pt x="739" y="537"/>
                        <a:pt x="739" y="524"/>
                        <a:pt x="722" y="524"/>
                      </a:cubicBezTo>
                      <a:cubicBezTo>
                        <a:pt x="705" y="524"/>
                        <a:pt x="707" y="533"/>
                        <a:pt x="697" y="537"/>
                      </a:cubicBezTo>
                      <a:lnTo>
                        <a:pt x="667" y="538"/>
                      </a:lnTo>
                      <a:lnTo>
                        <a:pt x="623" y="560"/>
                      </a:lnTo>
                      <a:lnTo>
                        <a:pt x="634" y="576"/>
                      </a:lnTo>
                      <a:lnTo>
                        <a:pt x="639" y="598"/>
                      </a:lnTo>
                      <a:lnTo>
                        <a:pt x="669" y="617"/>
                      </a:lnTo>
                      <a:lnTo>
                        <a:pt x="700" y="602"/>
                      </a:lnTo>
                      <a:lnTo>
                        <a:pt x="718" y="611"/>
                      </a:lnTo>
                      <a:lnTo>
                        <a:pt x="752" y="608"/>
                      </a:lnTo>
                      <a:lnTo>
                        <a:pt x="757" y="644"/>
                      </a:lnTo>
                      <a:lnTo>
                        <a:pt x="697" y="677"/>
                      </a:lnTo>
                      <a:close/>
                    </a:path>
                  </a:pathLst>
                </a:custGeom>
                <a:solidFill>
                  <a:srgbClr val="C0C0C0"/>
                </a:solidFill>
                <a:ln w="6350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>
                  <a:outerShdw dist="28398" dir="3806097" algn="ctr" rotWithShape="0">
                    <a:srgbClr val="333333">
                      <a:alpha val="50000"/>
                    </a:srgbClr>
                  </a:outerShdw>
                </a:effectLst>
              </p:spPr>
              <p:txBody>
                <a:bodyPr/>
                <a:lstStyle/>
                <a:p>
                  <a:pPr>
                    <a:defRPr/>
                  </a:pPr>
                  <a:endParaRPr lang="zh-CN" altLang="en-US"/>
                </a:p>
              </p:txBody>
            </p:sp>
          </p:grpSp>
          <p:sp>
            <p:nvSpPr>
              <p:cNvPr id="37" name="Line 114"/>
              <p:cNvSpPr>
                <a:spLocks noChangeShapeType="1"/>
              </p:cNvSpPr>
              <p:nvPr/>
            </p:nvSpPr>
            <p:spPr bwMode="auto">
              <a:xfrm flipV="1">
                <a:off x="838976" y="5574888"/>
                <a:ext cx="7668958" cy="7716"/>
              </a:xfrm>
              <a:prstGeom prst="line">
                <a:avLst/>
              </a:prstGeom>
              <a:noFill/>
              <a:ln w="19050">
                <a:solidFill>
                  <a:srgbClr val="8080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38" name="Oval 127"/>
              <p:cNvSpPr>
                <a:spLocks noChangeArrowheads="1"/>
              </p:cNvSpPr>
              <p:nvPr/>
            </p:nvSpPr>
            <p:spPr bwMode="gray">
              <a:xfrm>
                <a:off x="5826755" y="3407588"/>
                <a:ext cx="83344" cy="83344"/>
              </a:xfrm>
              <a:prstGeom prst="ellipse">
                <a:avLst/>
              </a:prstGeom>
              <a:solidFill>
                <a:srgbClr val="2EAD41"/>
              </a:solidFill>
              <a:ln w="9525" algn="ctr">
                <a:noFill/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zh-CN" altLang="en-US"/>
              </a:p>
            </p:txBody>
          </p:sp>
          <p:sp>
            <p:nvSpPr>
              <p:cNvPr id="39" name="Oval 128"/>
              <p:cNvSpPr>
                <a:spLocks noChangeArrowheads="1"/>
              </p:cNvSpPr>
              <p:nvPr/>
            </p:nvSpPr>
            <p:spPr bwMode="gray">
              <a:xfrm>
                <a:off x="4831633" y="3720675"/>
                <a:ext cx="83344" cy="83344"/>
              </a:xfrm>
              <a:prstGeom prst="ellipse">
                <a:avLst/>
              </a:prstGeom>
              <a:solidFill>
                <a:srgbClr val="3366FF"/>
              </a:solidFill>
              <a:ln w="9525" algn="ctr">
                <a:noFill/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zh-CN" altLang="en-US"/>
              </a:p>
            </p:txBody>
          </p:sp>
          <p:sp>
            <p:nvSpPr>
              <p:cNvPr id="40" name="Oval 130"/>
              <p:cNvSpPr>
                <a:spLocks noChangeArrowheads="1"/>
              </p:cNvSpPr>
              <p:nvPr/>
            </p:nvSpPr>
            <p:spPr bwMode="gray">
              <a:xfrm>
                <a:off x="5736208" y="3944715"/>
                <a:ext cx="83344" cy="83344"/>
              </a:xfrm>
              <a:prstGeom prst="ellipse">
                <a:avLst/>
              </a:prstGeom>
              <a:solidFill>
                <a:srgbClr val="3366FF"/>
              </a:solidFill>
              <a:ln w="9525" algn="ctr">
                <a:noFill/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zh-CN" altLang="en-US"/>
              </a:p>
            </p:txBody>
          </p:sp>
          <p:grpSp>
            <p:nvGrpSpPr>
              <p:cNvPr id="41" name="组合 226"/>
              <p:cNvGrpSpPr/>
              <p:nvPr/>
            </p:nvGrpSpPr>
            <p:grpSpPr>
              <a:xfrm>
                <a:off x="7280719" y="5632531"/>
                <a:ext cx="616295" cy="261610"/>
                <a:chOff x="9718025" y="5895626"/>
                <a:chExt cx="821724" cy="348813"/>
              </a:xfrm>
            </p:grpSpPr>
            <p:sp>
              <p:nvSpPr>
                <p:cNvPr id="87" name="Oval 137"/>
                <p:cNvSpPr>
                  <a:spLocks noChangeArrowheads="1"/>
                </p:cNvSpPr>
                <p:nvPr/>
              </p:nvSpPr>
              <p:spPr bwMode="gray">
                <a:xfrm>
                  <a:off x="9718025" y="5975214"/>
                  <a:ext cx="111124" cy="111125"/>
                </a:xfrm>
                <a:prstGeom prst="ellipse">
                  <a:avLst/>
                </a:prstGeom>
                <a:solidFill>
                  <a:srgbClr val="3366FF"/>
                </a:solidFill>
                <a:ln w="9525" algn="ctr">
                  <a:noFill/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zh-CN" altLang="en-US"/>
                </a:p>
              </p:txBody>
            </p:sp>
            <p:sp>
              <p:nvSpPr>
                <p:cNvPr id="88" name="Rectangle 139"/>
                <p:cNvSpPr>
                  <a:spLocks noChangeArrowheads="1"/>
                </p:cNvSpPr>
                <p:nvPr/>
              </p:nvSpPr>
              <p:spPr bwMode="auto">
                <a:xfrm>
                  <a:off x="10011400" y="5895626"/>
                  <a:ext cx="528349" cy="348813"/>
                </a:xfrm>
                <a:prstGeom prst="rect">
                  <a:avLst/>
                </a:prstGeom>
                <a:noFill/>
                <a:ln w="9525" algn="ctr">
                  <a:noFill/>
                  <a:miter lim="800000"/>
                  <a:headEnd/>
                  <a:tailEnd/>
                </a:ln>
              </p:spPr>
              <p:txBody>
                <a:bodyPr wrap="none">
                  <a:spAutoFit/>
                </a:bodyPr>
                <a:lstStyle/>
                <a:p>
                  <a:pPr algn="ctr"/>
                  <a:r>
                    <a:rPr lang="en-US" altLang="zh-CN" sz="1100" b="1" dirty="0" smtClean="0">
                      <a:latin typeface="Arial" panose="020B0604020202020204" pitchFamily="34" charset="0"/>
                      <a:ea typeface="黑体" panose="02010609060101010101" pitchFamily="49" charset="-122"/>
                      <a:cs typeface="Arial" panose="020B0604020202020204" pitchFamily="34" charset="0"/>
                    </a:rPr>
                    <a:t>RO</a:t>
                  </a:r>
                  <a:endParaRPr lang="en-US" altLang="zh-CN" sz="1100" b="1" dirty="0">
                    <a:latin typeface="Arial" panose="020B0604020202020204" pitchFamily="34" charset="0"/>
                    <a:ea typeface="黑体" panose="02010609060101010101" pitchFamily="49" charset="-122"/>
                    <a:cs typeface="Arial" panose="020B0604020202020204" pitchFamily="34" charset="0"/>
                  </a:endParaRPr>
                </a:p>
              </p:txBody>
            </p:sp>
          </p:grpSp>
          <p:grpSp>
            <p:nvGrpSpPr>
              <p:cNvPr id="42" name="组合 227"/>
              <p:cNvGrpSpPr/>
              <p:nvPr/>
            </p:nvGrpSpPr>
            <p:grpSpPr>
              <a:xfrm>
                <a:off x="6378508" y="5616618"/>
                <a:ext cx="709465" cy="261610"/>
                <a:chOff x="8504661" y="5864491"/>
                <a:chExt cx="945951" cy="348813"/>
              </a:xfrm>
            </p:grpSpPr>
            <p:sp>
              <p:nvSpPr>
                <p:cNvPr id="85" name="Oval 138"/>
                <p:cNvSpPr>
                  <a:spLocks noChangeArrowheads="1"/>
                </p:cNvSpPr>
                <p:nvPr/>
              </p:nvSpPr>
              <p:spPr bwMode="gray">
                <a:xfrm>
                  <a:off x="8504661" y="5987595"/>
                  <a:ext cx="111125" cy="111125"/>
                </a:xfrm>
                <a:prstGeom prst="ellipse">
                  <a:avLst/>
                </a:prstGeom>
                <a:solidFill>
                  <a:srgbClr val="2EAD41"/>
                </a:solidFill>
                <a:ln w="9525" algn="ctr">
                  <a:noFill/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zh-CN" altLang="en-US"/>
                </a:p>
              </p:txBody>
            </p:sp>
            <p:sp>
              <p:nvSpPr>
                <p:cNvPr id="86" name="Rectangle 140"/>
                <p:cNvSpPr>
                  <a:spLocks noChangeArrowheads="1"/>
                </p:cNvSpPr>
                <p:nvPr/>
              </p:nvSpPr>
              <p:spPr bwMode="auto">
                <a:xfrm>
                  <a:off x="8785472" y="5864491"/>
                  <a:ext cx="665140" cy="348813"/>
                </a:xfrm>
                <a:prstGeom prst="rect">
                  <a:avLst/>
                </a:prstGeom>
                <a:noFill/>
                <a:ln w="9525" algn="ctr">
                  <a:noFill/>
                  <a:miter lim="800000"/>
                  <a:headEnd/>
                  <a:tailEnd/>
                </a:ln>
              </p:spPr>
              <p:txBody>
                <a:bodyPr wrap="none">
                  <a:spAutoFit/>
                </a:bodyPr>
                <a:lstStyle/>
                <a:p>
                  <a:pPr algn="ctr"/>
                  <a:r>
                    <a:rPr lang="en-US" altLang="zh-CN" sz="1100" b="1" dirty="0" smtClean="0">
                      <a:latin typeface="Arial" panose="020B0604020202020204" pitchFamily="34" charset="0"/>
                      <a:ea typeface="黑体" panose="02010609060101010101" pitchFamily="49" charset="-122"/>
                      <a:cs typeface="Arial" panose="020B0604020202020204" pitchFamily="34" charset="0"/>
                    </a:rPr>
                    <a:t>MED</a:t>
                  </a:r>
                  <a:endParaRPr lang="en-US" altLang="zh-CN" sz="1100" b="1" dirty="0">
                    <a:latin typeface="Arial" panose="020B0604020202020204" pitchFamily="34" charset="0"/>
                    <a:ea typeface="黑体" panose="02010609060101010101" pitchFamily="49" charset="-122"/>
                    <a:cs typeface="Arial" panose="020B0604020202020204" pitchFamily="34" charset="0"/>
                  </a:endParaRPr>
                </a:p>
              </p:txBody>
            </p:sp>
          </p:grpSp>
          <p:sp>
            <p:nvSpPr>
              <p:cNvPr id="43" name="Oval 142"/>
              <p:cNvSpPr>
                <a:spLocks noChangeArrowheads="1"/>
              </p:cNvSpPr>
              <p:nvPr/>
            </p:nvSpPr>
            <p:spPr bwMode="gray">
              <a:xfrm>
                <a:off x="5664342" y="3808950"/>
                <a:ext cx="83344" cy="83344"/>
              </a:xfrm>
              <a:prstGeom prst="ellipse">
                <a:avLst/>
              </a:prstGeom>
              <a:solidFill>
                <a:srgbClr val="3366FF"/>
              </a:solidFill>
              <a:ln w="9525" algn="ctr">
                <a:noFill/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zh-CN" altLang="en-US"/>
              </a:p>
            </p:txBody>
          </p:sp>
          <p:sp>
            <p:nvSpPr>
              <p:cNvPr id="44" name="Oval 143"/>
              <p:cNvSpPr>
                <a:spLocks noChangeArrowheads="1"/>
              </p:cNvSpPr>
              <p:nvPr/>
            </p:nvSpPr>
            <p:spPr bwMode="gray">
              <a:xfrm>
                <a:off x="5714471" y="4266651"/>
                <a:ext cx="83344" cy="83344"/>
              </a:xfrm>
              <a:prstGeom prst="ellipse">
                <a:avLst/>
              </a:prstGeom>
              <a:solidFill>
                <a:srgbClr val="3366FF"/>
              </a:solidFill>
              <a:ln w="9525" algn="ctr">
                <a:noFill/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zh-CN" altLang="en-US"/>
              </a:p>
            </p:txBody>
          </p:sp>
          <p:sp>
            <p:nvSpPr>
              <p:cNvPr id="45" name="文本框 44"/>
              <p:cNvSpPr txBox="1"/>
              <p:nvPr/>
            </p:nvSpPr>
            <p:spPr>
              <a:xfrm>
                <a:off x="6955210" y="2251113"/>
                <a:ext cx="1808099" cy="361653"/>
              </a:xfrm>
              <a:prstGeom prst="rect">
                <a:avLst/>
              </a:prstGeom>
              <a:solidFill>
                <a:srgbClr val="2EAD41"/>
              </a:solidFill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CN" sz="1000" dirty="0" err="1">
                    <a:solidFill>
                      <a:schemeClr val="bg1"/>
                    </a:solidFill>
                    <a:latin typeface="Segoe UI Light" panose="020B0502040204020203" pitchFamily="34" charset="0"/>
                    <a:ea typeface="Segoe UI" panose="020B0502040204020203" pitchFamily="34" charset="0"/>
                    <a:cs typeface="Segoe UI" panose="020B0502040204020203" pitchFamily="34" charset="0"/>
                  </a:rPr>
                  <a:t>Huanghua</a:t>
                </a:r>
                <a:r>
                  <a:rPr lang="zh-CN" altLang="en-US" sz="1000" dirty="0">
                    <a:solidFill>
                      <a:schemeClr val="bg1"/>
                    </a:solidFill>
                    <a:latin typeface="Segoe UI Light" panose="020B0502040204020203" pitchFamily="34" charset="0"/>
                    <a:ea typeface="Segoe UI" panose="020B0502040204020203" pitchFamily="34" charset="0"/>
                    <a:cs typeface="Segoe UI" panose="020B0502040204020203" pitchFamily="34" charset="0"/>
                  </a:rPr>
                  <a:t> </a:t>
                </a:r>
                <a:r>
                  <a:rPr lang="en-US" altLang="zh-CN" sz="1000" dirty="0">
                    <a:solidFill>
                      <a:schemeClr val="bg1"/>
                    </a:solidFill>
                    <a:latin typeface="Segoe UI Light" panose="020B0502040204020203" pitchFamily="34" charset="0"/>
                    <a:ea typeface="Segoe UI" panose="020B0502040204020203" pitchFamily="34" charset="0"/>
                    <a:cs typeface="Segoe UI" panose="020B0502040204020203" pitchFamily="34" charset="0"/>
                  </a:rPr>
                  <a:t>Ⅲ,</a:t>
                </a:r>
                <a:r>
                  <a:rPr lang="zh-CN" altLang="en-US" sz="1000" dirty="0">
                    <a:solidFill>
                      <a:schemeClr val="bg1"/>
                    </a:solidFill>
                    <a:latin typeface="Segoe UI Light" panose="020B0502040204020203" pitchFamily="34" charset="0"/>
                    <a:ea typeface="Segoe UI" panose="020B0502040204020203" pitchFamily="34" charset="0"/>
                    <a:cs typeface="Segoe UI" panose="020B0502040204020203" pitchFamily="34" charset="0"/>
                  </a:rPr>
                  <a:t> </a:t>
                </a:r>
                <a:r>
                  <a:rPr lang="en-US" altLang="zh-CN" sz="1000" dirty="0">
                    <a:solidFill>
                      <a:schemeClr val="bg1"/>
                    </a:solidFill>
                    <a:latin typeface="Segoe UI Light" panose="020B0502040204020203" pitchFamily="34" charset="0"/>
                    <a:ea typeface="Segoe UI" panose="020B0502040204020203" pitchFamily="34" charset="0"/>
                    <a:cs typeface="Segoe UI" panose="020B0502040204020203" pitchFamily="34" charset="0"/>
                  </a:rPr>
                  <a:t>Hebei</a:t>
                </a:r>
                <a:r>
                  <a:rPr lang="zh-CN" altLang="en-US" sz="1000" dirty="0">
                    <a:solidFill>
                      <a:schemeClr val="bg1"/>
                    </a:solidFill>
                    <a:latin typeface="Segoe UI Light" panose="020B0502040204020203" pitchFamily="34" charset="0"/>
                    <a:ea typeface="Segoe UI" panose="020B0502040204020203" pitchFamily="34" charset="0"/>
                    <a:cs typeface="Segoe UI" panose="020B0502040204020203" pitchFamily="34" charset="0"/>
                  </a:rPr>
                  <a:t>        </a:t>
                </a:r>
                <a:endParaRPr lang="en-US" altLang="zh-CN" sz="1000" dirty="0">
                  <a:solidFill>
                    <a:schemeClr val="bg1"/>
                  </a:solidFill>
                  <a:latin typeface="Segoe UI Light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endParaRPr>
              </a:p>
              <a:p>
                <a:pPr algn="ctr"/>
                <a:r>
                  <a:rPr lang="zh-CN" altLang="en-US" sz="1000" dirty="0">
                    <a:solidFill>
                      <a:schemeClr val="bg1"/>
                    </a:solidFill>
                    <a:latin typeface="Segoe UI Light" panose="020B0502040204020203" pitchFamily="34" charset="0"/>
                    <a:ea typeface="Segoe UI" panose="020B0502040204020203" pitchFamily="34" charset="0"/>
                    <a:cs typeface="Segoe UI" panose="020B0502040204020203" pitchFamily="34" charset="0"/>
                  </a:rPr>
                  <a:t> </a:t>
                </a:r>
                <a:r>
                  <a:rPr lang="en-US" altLang="zh-CN" sz="1000" dirty="0">
                    <a:solidFill>
                      <a:schemeClr val="bg1"/>
                    </a:solidFill>
                    <a:latin typeface="Segoe UI Light" panose="020B0502040204020203" pitchFamily="34" charset="0"/>
                    <a:ea typeface="Segoe UI" panose="020B0502040204020203" pitchFamily="34" charset="0"/>
                    <a:cs typeface="Segoe UI" panose="020B0502040204020203" pitchFamily="34" charset="0"/>
                  </a:rPr>
                  <a:t>MED - 25000 t/d</a:t>
                </a:r>
                <a:endParaRPr lang="zh-CN" altLang="en-US" sz="1000" dirty="0">
                  <a:solidFill>
                    <a:schemeClr val="bg1"/>
                  </a:solidFill>
                  <a:latin typeface="Segoe UI Light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cxnSp>
            <p:nvCxnSpPr>
              <p:cNvPr id="46" name="直接箭头连接符 45"/>
              <p:cNvCxnSpPr>
                <a:endCxn id="38" idx="7"/>
              </p:cNvCxnSpPr>
              <p:nvPr/>
            </p:nvCxnSpPr>
            <p:spPr>
              <a:xfrm flipH="1">
                <a:off x="5897893" y="2627904"/>
                <a:ext cx="1096133" cy="791890"/>
              </a:xfrm>
              <a:prstGeom prst="straightConnector1">
                <a:avLst/>
              </a:prstGeom>
              <a:ln w="12700">
                <a:solidFill>
                  <a:schemeClr val="accent1">
                    <a:lumMod val="50000"/>
                  </a:schemeClr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7" name="Oval 127"/>
              <p:cNvSpPr>
                <a:spLocks noChangeArrowheads="1"/>
              </p:cNvSpPr>
              <p:nvPr/>
            </p:nvSpPr>
            <p:spPr bwMode="gray">
              <a:xfrm>
                <a:off x="5714775" y="3822189"/>
                <a:ext cx="83344" cy="83344"/>
              </a:xfrm>
              <a:prstGeom prst="ellipse">
                <a:avLst/>
              </a:prstGeom>
              <a:solidFill>
                <a:srgbClr val="2EAD41"/>
              </a:solidFill>
              <a:ln w="9525" algn="ctr">
                <a:noFill/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zh-CN" altLang="en-US"/>
              </a:p>
            </p:txBody>
          </p:sp>
          <p:cxnSp>
            <p:nvCxnSpPr>
              <p:cNvPr id="48" name="直接箭头连接符 47"/>
              <p:cNvCxnSpPr>
                <a:endCxn id="47" idx="6"/>
              </p:cNvCxnSpPr>
              <p:nvPr/>
            </p:nvCxnSpPr>
            <p:spPr>
              <a:xfrm flipH="1">
                <a:off x="5798118" y="3480201"/>
                <a:ext cx="1253860" cy="383660"/>
              </a:xfrm>
              <a:prstGeom prst="straightConnector1">
                <a:avLst/>
              </a:prstGeom>
              <a:ln w="12700">
                <a:solidFill>
                  <a:schemeClr val="accent1">
                    <a:lumMod val="50000"/>
                  </a:schemeClr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9" name="Oval 129"/>
              <p:cNvSpPr>
                <a:spLocks noChangeArrowheads="1"/>
              </p:cNvSpPr>
              <p:nvPr/>
            </p:nvSpPr>
            <p:spPr bwMode="gray">
              <a:xfrm>
                <a:off x="4900240" y="3935208"/>
                <a:ext cx="83344" cy="83344"/>
              </a:xfrm>
              <a:prstGeom prst="ellipse">
                <a:avLst/>
              </a:prstGeom>
              <a:solidFill>
                <a:srgbClr val="2EAD41"/>
              </a:solidFill>
              <a:ln w="9525" algn="ctr">
                <a:noFill/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zh-CN" altLang="en-US"/>
              </a:p>
            </p:txBody>
          </p:sp>
          <p:sp>
            <p:nvSpPr>
              <p:cNvPr id="84" name="文本框 83"/>
              <p:cNvSpPr txBox="1"/>
              <p:nvPr/>
            </p:nvSpPr>
            <p:spPr>
              <a:xfrm>
                <a:off x="949601" y="4287325"/>
                <a:ext cx="1364478" cy="361653"/>
              </a:xfrm>
              <a:prstGeom prst="rect">
                <a:avLst/>
              </a:prstGeom>
              <a:solidFill>
                <a:srgbClr val="2EAD41"/>
              </a:solidFill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CN" sz="1000" dirty="0">
                    <a:solidFill>
                      <a:schemeClr val="bg1"/>
                    </a:solidFill>
                    <a:latin typeface="Segoe UI Light" panose="020B0502040204020203" pitchFamily="34" charset="0"/>
                    <a:ea typeface="Segoe UI" panose="020B0502040204020203" pitchFamily="34" charset="0"/>
                    <a:cs typeface="Segoe UI" panose="020B0502040204020203" pitchFamily="34" charset="0"/>
                  </a:rPr>
                  <a:t>Aden, Yemen</a:t>
                </a:r>
              </a:p>
              <a:p>
                <a:pPr algn="ctr"/>
                <a:r>
                  <a:rPr lang="en-US" altLang="zh-CN" sz="1000" dirty="0">
                    <a:solidFill>
                      <a:schemeClr val="bg1"/>
                    </a:solidFill>
                    <a:latin typeface="Segoe UI Light" panose="020B0502040204020203" pitchFamily="34" charset="0"/>
                    <a:ea typeface="Segoe UI" panose="020B0502040204020203" pitchFamily="34" charset="0"/>
                    <a:cs typeface="Segoe UI" panose="020B0502040204020203" pitchFamily="34" charset="0"/>
                  </a:rPr>
                  <a:t>MED - 2160 t/d</a:t>
                </a:r>
              </a:p>
            </p:txBody>
          </p:sp>
          <p:cxnSp>
            <p:nvCxnSpPr>
              <p:cNvPr id="51" name="直接箭头连接符 50"/>
              <p:cNvCxnSpPr>
                <a:stCxn id="84" idx="3"/>
                <a:endCxn id="49" idx="2"/>
              </p:cNvCxnSpPr>
              <p:nvPr/>
            </p:nvCxnSpPr>
            <p:spPr>
              <a:xfrm flipV="1">
                <a:off x="2314078" y="3976881"/>
                <a:ext cx="2586161" cy="491271"/>
              </a:xfrm>
              <a:prstGeom prst="straightConnector1">
                <a:avLst/>
              </a:prstGeom>
              <a:ln w="12700">
                <a:solidFill>
                  <a:schemeClr val="accent1">
                    <a:lumMod val="50000"/>
                  </a:schemeClr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82" name="文本框 81"/>
              <p:cNvSpPr txBox="1"/>
              <p:nvPr/>
            </p:nvSpPr>
            <p:spPr>
              <a:xfrm>
                <a:off x="7054196" y="4671487"/>
                <a:ext cx="1998071" cy="361653"/>
              </a:xfrm>
              <a:prstGeom prst="rect">
                <a:avLst/>
              </a:prstGeom>
              <a:solidFill>
                <a:srgbClr val="0984B9"/>
              </a:solidFill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CN" sz="1000" dirty="0">
                    <a:solidFill>
                      <a:schemeClr val="bg1"/>
                    </a:solidFill>
                    <a:latin typeface="Segoe UI Light" panose="020B0502040204020203" pitchFamily="34" charset="0"/>
                    <a:ea typeface="Segoe UI" panose="020B0502040204020203" pitchFamily="34" charset="0"/>
                    <a:cs typeface="Segoe UI" panose="020B0502040204020203" pitchFamily="34" charset="0"/>
                  </a:rPr>
                  <a:t>Puerto </a:t>
                </a:r>
                <a:r>
                  <a:rPr lang="en-US" altLang="zh-CN" sz="1000" dirty="0" err="1">
                    <a:solidFill>
                      <a:schemeClr val="bg1"/>
                    </a:solidFill>
                    <a:latin typeface="Segoe UI Light" panose="020B0502040204020203" pitchFamily="34" charset="0"/>
                    <a:ea typeface="Segoe UI" panose="020B0502040204020203" pitchFamily="34" charset="0"/>
                    <a:cs typeface="Segoe UI" panose="020B0502040204020203" pitchFamily="34" charset="0"/>
                  </a:rPr>
                  <a:t>Princesa</a:t>
                </a:r>
                <a:r>
                  <a:rPr lang="en-US" altLang="zh-CN" sz="1000" dirty="0">
                    <a:solidFill>
                      <a:schemeClr val="bg1"/>
                    </a:solidFill>
                    <a:latin typeface="Segoe UI Light" panose="020B0502040204020203" pitchFamily="34" charset="0"/>
                    <a:ea typeface="Segoe UI" panose="020B0502040204020203" pitchFamily="34" charset="0"/>
                    <a:cs typeface="Segoe UI" panose="020B0502040204020203" pitchFamily="34" charset="0"/>
                  </a:rPr>
                  <a:t>, Indonesia</a:t>
                </a:r>
              </a:p>
              <a:p>
                <a:pPr algn="ctr"/>
                <a:r>
                  <a:rPr lang="en-US" altLang="zh-CN" sz="1000" dirty="0">
                    <a:solidFill>
                      <a:schemeClr val="bg1"/>
                    </a:solidFill>
                    <a:latin typeface="Segoe UI Light" panose="020B0502040204020203" pitchFamily="34" charset="0"/>
                    <a:ea typeface="Segoe UI" panose="020B0502040204020203" pitchFamily="34" charset="0"/>
                    <a:cs typeface="Segoe UI" panose="020B0502040204020203" pitchFamily="34" charset="0"/>
                  </a:rPr>
                  <a:t>RO - 7680 t/d</a:t>
                </a:r>
              </a:p>
            </p:txBody>
          </p:sp>
          <p:cxnSp>
            <p:nvCxnSpPr>
              <p:cNvPr id="53" name="直接箭头连接符 52"/>
              <p:cNvCxnSpPr>
                <a:endCxn id="44" idx="6"/>
              </p:cNvCxnSpPr>
              <p:nvPr/>
            </p:nvCxnSpPr>
            <p:spPr>
              <a:xfrm flipH="1" flipV="1">
                <a:off x="5797815" y="4308323"/>
                <a:ext cx="1252125" cy="502318"/>
              </a:xfrm>
              <a:prstGeom prst="straightConnector1">
                <a:avLst/>
              </a:prstGeom>
              <a:ln w="12700">
                <a:solidFill>
                  <a:schemeClr val="accent1">
                    <a:lumMod val="50000"/>
                  </a:schemeClr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80" name="文本框 79"/>
              <p:cNvSpPr txBox="1"/>
              <p:nvPr/>
            </p:nvSpPr>
            <p:spPr>
              <a:xfrm>
                <a:off x="3774528" y="2242834"/>
                <a:ext cx="1590340" cy="361653"/>
              </a:xfrm>
              <a:prstGeom prst="rect">
                <a:avLst/>
              </a:prstGeom>
              <a:solidFill>
                <a:srgbClr val="0984B9"/>
              </a:solidFill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CN" sz="1000" dirty="0" err="1">
                    <a:solidFill>
                      <a:schemeClr val="bg1"/>
                    </a:solidFill>
                    <a:latin typeface="Segoe UI Light" panose="020B0502040204020203" pitchFamily="34" charset="0"/>
                    <a:ea typeface="Segoe UI" panose="020B0502040204020203" pitchFamily="34" charset="0"/>
                    <a:cs typeface="Segoe UI" panose="020B0502040204020203" pitchFamily="34" charset="0"/>
                  </a:rPr>
                  <a:t>Huilai</a:t>
                </a:r>
                <a:r>
                  <a:rPr lang="en-US" altLang="zh-CN" sz="1000" dirty="0">
                    <a:solidFill>
                      <a:schemeClr val="bg1"/>
                    </a:solidFill>
                    <a:latin typeface="Segoe UI Light" panose="020B0502040204020203" pitchFamily="34" charset="0"/>
                    <a:ea typeface="Segoe UI" panose="020B0502040204020203" pitchFamily="34" charset="0"/>
                    <a:cs typeface="Segoe UI" panose="020B0502040204020203" pitchFamily="34" charset="0"/>
                  </a:rPr>
                  <a:t>,</a:t>
                </a:r>
                <a:r>
                  <a:rPr lang="zh-CN" altLang="en-US" sz="1000" dirty="0">
                    <a:solidFill>
                      <a:schemeClr val="bg1"/>
                    </a:solidFill>
                    <a:latin typeface="Segoe UI Light" panose="020B0502040204020203" pitchFamily="34" charset="0"/>
                    <a:ea typeface="Segoe UI" panose="020B0502040204020203" pitchFamily="34" charset="0"/>
                    <a:cs typeface="Segoe UI" panose="020B0502040204020203" pitchFamily="34" charset="0"/>
                  </a:rPr>
                  <a:t> </a:t>
                </a:r>
                <a:r>
                  <a:rPr lang="en-US" altLang="zh-CN" sz="1000" dirty="0">
                    <a:solidFill>
                      <a:schemeClr val="bg1"/>
                    </a:solidFill>
                    <a:latin typeface="Segoe UI Light" panose="020B0502040204020203" pitchFamily="34" charset="0"/>
                    <a:ea typeface="Segoe UI" panose="020B0502040204020203" pitchFamily="34" charset="0"/>
                    <a:cs typeface="Segoe UI" panose="020B0502040204020203" pitchFamily="34" charset="0"/>
                  </a:rPr>
                  <a:t>Guangdong</a:t>
                </a:r>
              </a:p>
              <a:p>
                <a:pPr algn="ctr"/>
                <a:r>
                  <a:rPr lang="en-US" altLang="zh-CN" sz="1000" dirty="0">
                    <a:solidFill>
                      <a:schemeClr val="bg1"/>
                    </a:solidFill>
                    <a:latin typeface="Segoe UI Light" panose="020B0502040204020203" pitchFamily="34" charset="0"/>
                    <a:ea typeface="Segoe UI" panose="020B0502040204020203" pitchFamily="34" charset="0"/>
                    <a:cs typeface="Segoe UI" panose="020B0502040204020203" pitchFamily="34" charset="0"/>
                  </a:rPr>
                  <a:t>RO - 10080 t/d</a:t>
                </a:r>
                <a:endParaRPr lang="zh-CN" altLang="en-US" sz="1000" dirty="0">
                  <a:solidFill>
                    <a:schemeClr val="bg1"/>
                  </a:solidFill>
                  <a:latin typeface="Segoe UI Light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cxnSp>
            <p:nvCxnSpPr>
              <p:cNvPr id="55" name="直接箭头连接符 54"/>
              <p:cNvCxnSpPr>
                <a:stCxn id="80" idx="2"/>
                <a:endCxn id="43" idx="2"/>
              </p:cNvCxnSpPr>
              <p:nvPr/>
            </p:nvCxnSpPr>
            <p:spPr>
              <a:xfrm>
                <a:off x="4569699" y="2604487"/>
                <a:ext cx="1094644" cy="1246135"/>
              </a:xfrm>
              <a:prstGeom prst="straightConnector1">
                <a:avLst/>
              </a:prstGeom>
              <a:ln w="12700">
                <a:solidFill>
                  <a:schemeClr val="accent1">
                    <a:lumMod val="50000"/>
                  </a:schemeClr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78" name="文本框 77"/>
              <p:cNvSpPr txBox="1"/>
              <p:nvPr/>
            </p:nvSpPr>
            <p:spPr>
              <a:xfrm>
                <a:off x="1820054" y="2533178"/>
                <a:ext cx="1792797" cy="361653"/>
              </a:xfrm>
              <a:prstGeom prst="rect">
                <a:avLst/>
              </a:prstGeom>
              <a:solidFill>
                <a:srgbClr val="0984B9"/>
              </a:solidFill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CN" sz="1000" dirty="0">
                    <a:solidFill>
                      <a:schemeClr val="bg1"/>
                    </a:solidFill>
                    <a:latin typeface="Segoe UI Light" panose="020B0502040204020203" pitchFamily="34" charset="0"/>
                    <a:ea typeface="Segoe UI" panose="020B0502040204020203" pitchFamily="34" charset="0"/>
                    <a:cs typeface="Segoe UI" panose="020B0502040204020203" pitchFamily="34" charset="0"/>
                  </a:rPr>
                  <a:t>VINH TAN,</a:t>
                </a:r>
                <a:r>
                  <a:rPr lang="zh-CN" altLang="en-US" sz="1000" dirty="0">
                    <a:solidFill>
                      <a:schemeClr val="bg1"/>
                    </a:solidFill>
                    <a:latin typeface="Segoe UI Light" panose="020B0502040204020203" pitchFamily="34" charset="0"/>
                    <a:ea typeface="Segoe UI" panose="020B0502040204020203" pitchFamily="34" charset="0"/>
                    <a:cs typeface="Segoe UI" panose="020B0502040204020203" pitchFamily="34" charset="0"/>
                  </a:rPr>
                  <a:t> </a:t>
                </a:r>
                <a:r>
                  <a:rPr lang="en-US" altLang="zh-CN" sz="1000" dirty="0">
                    <a:solidFill>
                      <a:schemeClr val="bg1"/>
                    </a:solidFill>
                    <a:latin typeface="Segoe UI Light" panose="020B0502040204020203" pitchFamily="34" charset="0"/>
                    <a:ea typeface="Segoe UI" panose="020B0502040204020203" pitchFamily="34" charset="0"/>
                    <a:cs typeface="Segoe UI" panose="020B0502040204020203" pitchFamily="34" charset="0"/>
                  </a:rPr>
                  <a:t>Viet</a:t>
                </a:r>
                <a:r>
                  <a:rPr lang="zh-CN" altLang="en-US" sz="1000" dirty="0">
                    <a:solidFill>
                      <a:schemeClr val="bg1"/>
                    </a:solidFill>
                    <a:latin typeface="Segoe UI Light" panose="020B0502040204020203" pitchFamily="34" charset="0"/>
                    <a:ea typeface="Segoe UI" panose="020B0502040204020203" pitchFamily="34" charset="0"/>
                    <a:cs typeface="Segoe UI" panose="020B0502040204020203" pitchFamily="34" charset="0"/>
                  </a:rPr>
                  <a:t> </a:t>
                </a:r>
                <a:r>
                  <a:rPr lang="en-US" altLang="zh-CN" sz="1000" dirty="0">
                    <a:solidFill>
                      <a:schemeClr val="bg1"/>
                    </a:solidFill>
                    <a:latin typeface="Segoe UI Light" panose="020B0502040204020203" pitchFamily="34" charset="0"/>
                    <a:ea typeface="Segoe UI" panose="020B0502040204020203" pitchFamily="34" charset="0"/>
                    <a:cs typeface="Segoe UI" panose="020B0502040204020203" pitchFamily="34" charset="0"/>
                  </a:rPr>
                  <a:t>Nam</a:t>
                </a:r>
              </a:p>
              <a:p>
                <a:pPr algn="ctr"/>
                <a:r>
                  <a:rPr lang="en-US" altLang="zh-CN" sz="1000" dirty="0">
                    <a:solidFill>
                      <a:schemeClr val="bg1"/>
                    </a:solidFill>
                    <a:latin typeface="Segoe UI Light" panose="020B0502040204020203" pitchFamily="34" charset="0"/>
                    <a:ea typeface="Segoe UI" panose="020B0502040204020203" pitchFamily="34" charset="0"/>
                    <a:cs typeface="Segoe UI" panose="020B0502040204020203" pitchFamily="34" charset="0"/>
                  </a:rPr>
                  <a:t>RO - 9600 t/d</a:t>
                </a:r>
              </a:p>
            </p:txBody>
          </p:sp>
          <p:cxnSp>
            <p:nvCxnSpPr>
              <p:cNvPr id="57" name="直接箭头连接符 56"/>
              <p:cNvCxnSpPr>
                <a:stCxn id="78" idx="2"/>
                <a:endCxn id="40" idx="2"/>
              </p:cNvCxnSpPr>
              <p:nvPr/>
            </p:nvCxnSpPr>
            <p:spPr>
              <a:xfrm>
                <a:off x="2716453" y="2894831"/>
                <a:ext cx="3019756" cy="1091557"/>
              </a:xfrm>
              <a:prstGeom prst="straightConnector1">
                <a:avLst/>
              </a:prstGeom>
              <a:ln w="12700">
                <a:solidFill>
                  <a:schemeClr val="accent1">
                    <a:lumMod val="50000"/>
                  </a:schemeClr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76" name="文本框 75"/>
              <p:cNvSpPr txBox="1"/>
              <p:nvPr/>
            </p:nvSpPr>
            <p:spPr>
              <a:xfrm>
                <a:off x="239363" y="3293606"/>
                <a:ext cx="2005549" cy="361653"/>
              </a:xfrm>
              <a:prstGeom prst="rect">
                <a:avLst/>
              </a:prstGeom>
              <a:solidFill>
                <a:srgbClr val="0984B9"/>
              </a:solidFill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CN" sz="1000" dirty="0" err="1">
                    <a:solidFill>
                      <a:schemeClr val="bg1"/>
                    </a:solidFill>
                    <a:latin typeface="Segoe UI Light" panose="020B0502040204020203" pitchFamily="34" charset="0"/>
                    <a:ea typeface="Segoe UI" panose="020B0502040204020203" pitchFamily="34" charset="0"/>
                    <a:cs typeface="Segoe UI" panose="020B0502040204020203" pitchFamily="34" charset="0"/>
                  </a:rPr>
                  <a:t>Wassit</a:t>
                </a:r>
                <a:r>
                  <a:rPr lang="en-US" altLang="zh-CN" sz="1000" dirty="0">
                    <a:solidFill>
                      <a:schemeClr val="bg1"/>
                    </a:solidFill>
                    <a:latin typeface="Segoe UI Light" panose="020B0502040204020203" pitchFamily="34" charset="0"/>
                    <a:ea typeface="Segoe UI" panose="020B0502040204020203" pitchFamily="34" charset="0"/>
                    <a:cs typeface="Segoe UI" panose="020B0502040204020203" pitchFamily="34" charset="0"/>
                  </a:rPr>
                  <a:t>,</a:t>
                </a:r>
                <a:r>
                  <a:rPr lang="zh-CN" altLang="en-US" sz="1000" dirty="0">
                    <a:solidFill>
                      <a:schemeClr val="bg1"/>
                    </a:solidFill>
                    <a:latin typeface="Segoe UI Light" panose="020B0502040204020203" pitchFamily="34" charset="0"/>
                    <a:ea typeface="Segoe UI" panose="020B0502040204020203" pitchFamily="34" charset="0"/>
                    <a:cs typeface="Segoe UI" panose="020B0502040204020203" pitchFamily="34" charset="0"/>
                  </a:rPr>
                  <a:t> </a:t>
                </a:r>
                <a:r>
                  <a:rPr lang="en-US" altLang="zh-CN" sz="1000" dirty="0" err="1">
                    <a:solidFill>
                      <a:schemeClr val="bg1"/>
                    </a:solidFill>
                    <a:latin typeface="Segoe UI Light" panose="020B0502040204020203" pitchFamily="34" charset="0"/>
                    <a:ea typeface="Segoe UI" panose="020B0502040204020203" pitchFamily="34" charset="0"/>
                    <a:cs typeface="Segoe UI" panose="020B0502040204020203" pitchFamily="34" charset="0"/>
                  </a:rPr>
                  <a:t>Irap</a:t>
                </a:r>
                <a:endParaRPr lang="en-US" altLang="zh-CN" sz="1000" dirty="0">
                  <a:solidFill>
                    <a:schemeClr val="bg1"/>
                  </a:solidFill>
                  <a:latin typeface="Segoe UI Light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endParaRPr>
              </a:p>
              <a:p>
                <a:pPr algn="ctr"/>
                <a:r>
                  <a:rPr lang="en-US" altLang="zh-CN" sz="1000" dirty="0">
                    <a:solidFill>
                      <a:schemeClr val="bg1"/>
                    </a:solidFill>
                    <a:latin typeface="Segoe UI Light" panose="020B0502040204020203" pitchFamily="34" charset="0"/>
                    <a:ea typeface="Segoe UI" panose="020B0502040204020203" pitchFamily="34" charset="0"/>
                    <a:cs typeface="Segoe UI" panose="020B0502040204020203" pitchFamily="34" charset="0"/>
                  </a:rPr>
                  <a:t>Boiler Feed</a:t>
                </a:r>
                <a:r>
                  <a:rPr lang="zh-CN" altLang="en-US" sz="1000" dirty="0">
                    <a:solidFill>
                      <a:schemeClr val="bg1"/>
                    </a:solidFill>
                    <a:latin typeface="Segoe UI Light" panose="020B0502040204020203" pitchFamily="34" charset="0"/>
                    <a:ea typeface="Segoe UI" panose="020B0502040204020203" pitchFamily="34" charset="0"/>
                    <a:cs typeface="Segoe UI" panose="020B0502040204020203" pitchFamily="34" charset="0"/>
                  </a:rPr>
                  <a:t> </a:t>
                </a:r>
                <a:r>
                  <a:rPr lang="en-US" altLang="zh-CN" sz="1000" dirty="0">
                    <a:solidFill>
                      <a:schemeClr val="bg1"/>
                    </a:solidFill>
                    <a:latin typeface="Segoe UI Light" panose="020B0502040204020203" pitchFamily="34" charset="0"/>
                    <a:ea typeface="Segoe UI" panose="020B0502040204020203" pitchFamily="34" charset="0"/>
                    <a:cs typeface="Segoe UI" panose="020B0502040204020203" pitchFamily="34" charset="0"/>
                  </a:rPr>
                  <a:t>water</a:t>
                </a:r>
                <a:r>
                  <a:rPr lang="zh-CN" altLang="en-US" sz="1000" dirty="0">
                    <a:solidFill>
                      <a:schemeClr val="bg1"/>
                    </a:solidFill>
                    <a:latin typeface="Segoe UI Light" panose="020B0502040204020203" pitchFamily="34" charset="0"/>
                    <a:ea typeface="Segoe UI" panose="020B0502040204020203" pitchFamily="34" charset="0"/>
                    <a:cs typeface="Segoe UI" panose="020B0502040204020203" pitchFamily="34" charset="0"/>
                  </a:rPr>
                  <a:t> </a:t>
                </a:r>
                <a:r>
                  <a:rPr lang="en-US" altLang="zh-CN" sz="1000" dirty="0">
                    <a:solidFill>
                      <a:schemeClr val="bg1"/>
                    </a:solidFill>
                    <a:latin typeface="Segoe UI Light" panose="020B0502040204020203" pitchFamily="34" charset="0"/>
                    <a:ea typeface="Segoe UI" panose="020B0502040204020203" pitchFamily="34" charset="0"/>
                    <a:cs typeface="Segoe UI" panose="020B0502040204020203" pitchFamily="34" charset="0"/>
                  </a:rPr>
                  <a:t>-</a:t>
                </a:r>
                <a:r>
                  <a:rPr lang="zh-CN" altLang="en-US" sz="1000" dirty="0">
                    <a:solidFill>
                      <a:schemeClr val="bg1"/>
                    </a:solidFill>
                    <a:latin typeface="Segoe UI Light" panose="020B0502040204020203" pitchFamily="34" charset="0"/>
                    <a:ea typeface="Segoe UI" panose="020B0502040204020203" pitchFamily="34" charset="0"/>
                    <a:cs typeface="Segoe UI" panose="020B0502040204020203" pitchFamily="34" charset="0"/>
                  </a:rPr>
                  <a:t> </a:t>
                </a:r>
                <a:r>
                  <a:rPr lang="en-US" altLang="zh-CN" sz="1000" dirty="0">
                    <a:solidFill>
                      <a:schemeClr val="bg1"/>
                    </a:solidFill>
                    <a:latin typeface="Segoe UI Light" panose="020B0502040204020203" pitchFamily="34" charset="0"/>
                    <a:ea typeface="Segoe UI" panose="020B0502040204020203" pitchFamily="34" charset="0"/>
                    <a:cs typeface="Segoe UI" panose="020B0502040204020203" pitchFamily="34" charset="0"/>
                  </a:rPr>
                  <a:t>4800</a:t>
                </a:r>
                <a:r>
                  <a:rPr lang="zh-CN" altLang="en-US" sz="1000" dirty="0">
                    <a:solidFill>
                      <a:schemeClr val="bg1"/>
                    </a:solidFill>
                    <a:latin typeface="Segoe UI Light" panose="020B0502040204020203" pitchFamily="34" charset="0"/>
                    <a:ea typeface="Segoe UI" panose="020B0502040204020203" pitchFamily="34" charset="0"/>
                    <a:cs typeface="Segoe UI" panose="020B0502040204020203" pitchFamily="34" charset="0"/>
                  </a:rPr>
                  <a:t> </a:t>
                </a:r>
                <a:r>
                  <a:rPr lang="en-US" altLang="zh-CN" sz="1000" dirty="0">
                    <a:solidFill>
                      <a:schemeClr val="bg1"/>
                    </a:solidFill>
                    <a:latin typeface="Segoe UI Light" panose="020B0502040204020203" pitchFamily="34" charset="0"/>
                    <a:ea typeface="Segoe UI" panose="020B0502040204020203" pitchFamily="34" charset="0"/>
                    <a:cs typeface="Segoe UI" panose="020B0502040204020203" pitchFamily="34" charset="0"/>
                  </a:rPr>
                  <a:t>t/d</a:t>
                </a:r>
              </a:p>
            </p:txBody>
          </p:sp>
          <p:cxnSp>
            <p:nvCxnSpPr>
              <p:cNvPr id="59" name="直接箭头连接符 58"/>
              <p:cNvCxnSpPr>
                <a:endCxn id="39" idx="3"/>
              </p:cNvCxnSpPr>
              <p:nvPr/>
            </p:nvCxnSpPr>
            <p:spPr>
              <a:xfrm>
                <a:off x="2229371" y="3504238"/>
                <a:ext cx="2614467" cy="287576"/>
              </a:xfrm>
              <a:prstGeom prst="straightConnector1">
                <a:avLst/>
              </a:prstGeom>
              <a:ln w="12700">
                <a:solidFill>
                  <a:schemeClr val="accent1">
                    <a:lumMod val="50000"/>
                  </a:schemeClr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60" name="Oval 143"/>
              <p:cNvSpPr>
                <a:spLocks noChangeArrowheads="1"/>
              </p:cNvSpPr>
              <p:nvPr/>
            </p:nvSpPr>
            <p:spPr bwMode="gray">
              <a:xfrm>
                <a:off x="5935933" y="4016190"/>
                <a:ext cx="83344" cy="83344"/>
              </a:xfrm>
              <a:prstGeom prst="ellipse">
                <a:avLst/>
              </a:prstGeom>
              <a:solidFill>
                <a:srgbClr val="3366FF"/>
              </a:solidFill>
              <a:ln w="9525" algn="ctr">
                <a:noFill/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zh-CN" altLang="en-US"/>
              </a:p>
            </p:txBody>
          </p:sp>
          <p:sp>
            <p:nvSpPr>
              <p:cNvPr id="74" name="文本框 73"/>
              <p:cNvSpPr txBox="1"/>
              <p:nvPr/>
            </p:nvSpPr>
            <p:spPr>
              <a:xfrm>
                <a:off x="140602" y="2543276"/>
                <a:ext cx="1633364" cy="361653"/>
              </a:xfrm>
              <a:prstGeom prst="rect">
                <a:avLst/>
              </a:prstGeom>
              <a:solidFill>
                <a:srgbClr val="0984B9"/>
              </a:solidFill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CN" sz="1000" dirty="0">
                    <a:solidFill>
                      <a:schemeClr val="bg1"/>
                    </a:solidFill>
                    <a:latin typeface="Segoe UI Light" panose="020B0502040204020203" pitchFamily="34" charset="0"/>
                    <a:ea typeface="Segoe UI" panose="020B0502040204020203" pitchFamily="34" charset="0"/>
                    <a:cs typeface="Segoe UI" panose="020B0502040204020203" pitchFamily="34" charset="0"/>
                  </a:rPr>
                  <a:t>PCPC,</a:t>
                </a:r>
                <a:r>
                  <a:rPr lang="zh-CN" altLang="en-US" sz="1000" dirty="0">
                    <a:solidFill>
                      <a:schemeClr val="bg1"/>
                    </a:solidFill>
                    <a:latin typeface="Segoe UI Light" panose="020B0502040204020203" pitchFamily="34" charset="0"/>
                    <a:cs typeface="Segoe UI" panose="020B0502040204020203" pitchFamily="34" charset="0"/>
                  </a:rPr>
                  <a:t> </a:t>
                </a:r>
                <a:r>
                  <a:rPr lang="en-US" altLang="zh-CN" sz="1000" dirty="0">
                    <a:solidFill>
                      <a:schemeClr val="bg1"/>
                    </a:solidFill>
                    <a:latin typeface="Segoe UI Light" panose="020B0502040204020203" pitchFamily="34" charset="0"/>
                    <a:ea typeface="Segoe UI" panose="020B0502040204020203" pitchFamily="34" charset="0"/>
                    <a:cs typeface="Segoe UI" panose="020B0502040204020203" pitchFamily="34" charset="0"/>
                  </a:rPr>
                  <a:t>Philippine</a:t>
                </a:r>
                <a:r>
                  <a:rPr lang="zh-CN" altLang="en-US" sz="1000" dirty="0">
                    <a:solidFill>
                      <a:schemeClr val="bg1"/>
                    </a:solidFill>
                    <a:latin typeface="Segoe UI Light" panose="020B0502040204020203" pitchFamily="34" charset="0"/>
                    <a:cs typeface="Segoe UI" panose="020B0502040204020203" pitchFamily="34" charset="0"/>
                  </a:rPr>
                  <a:t> </a:t>
                </a:r>
                <a:endParaRPr lang="en-US" altLang="zh-CN" sz="1000" dirty="0">
                  <a:solidFill>
                    <a:schemeClr val="bg1"/>
                  </a:solidFill>
                  <a:latin typeface="Segoe UI Light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endParaRPr>
              </a:p>
              <a:p>
                <a:pPr algn="ctr"/>
                <a:r>
                  <a:rPr lang="en-US" altLang="zh-CN" sz="1000" dirty="0">
                    <a:solidFill>
                      <a:schemeClr val="bg1"/>
                    </a:solidFill>
                    <a:latin typeface="Segoe UI Light" panose="020B0502040204020203" pitchFamily="34" charset="0"/>
                    <a:ea typeface="Segoe UI" panose="020B0502040204020203" pitchFamily="34" charset="0"/>
                    <a:cs typeface="Segoe UI" panose="020B0502040204020203" pitchFamily="34" charset="0"/>
                  </a:rPr>
                  <a:t>RO - 2640</a:t>
                </a:r>
                <a:r>
                  <a:rPr lang="zh-CN" altLang="en-US" sz="1000" dirty="0">
                    <a:solidFill>
                      <a:schemeClr val="bg1"/>
                    </a:solidFill>
                    <a:latin typeface="Segoe UI Light" panose="020B0502040204020203" pitchFamily="34" charset="0"/>
                    <a:cs typeface="Segoe UI" panose="020B0502040204020203" pitchFamily="34" charset="0"/>
                  </a:rPr>
                  <a:t> </a:t>
                </a:r>
                <a:r>
                  <a:rPr lang="en-US" altLang="zh-CN" sz="1000" dirty="0" smtClean="0">
                    <a:solidFill>
                      <a:schemeClr val="bg1"/>
                    </a:solidFill>
                    <a:latin typeface="Segoe UI Light" panose="020B0502040204020203" pitchFamily="34" charset="0"/>
                    <a:ea typeface="Segoe UI" panose="020B0502040204020203" pitchFamily="34" charset="0"/>
                    <a:cs typeface="Segoe UI" panose="020B0502040204020203" pitchFamily="34" charset="0"/>
                  </a:rPr>
                  <a:t>t/d</a:t>
                </a:r>
                <a:endParaRPr lang="en-US" altLang="zh-CN" sz="1000" dirty="0">
                  <a:solidFill>
                    <a:schemeClr val="bg1"/>
                  </a:solidFill>
                  <a:latin typeface="Segoe UI Light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cxnSp>
            <p:nvCxnSpPr>
              <p:cNvPr id="62" name="直接箭头连接符 61"/>
              <p:cNvCxnSpPr>
                <a:stCxn id="74" idx="2"/>
                <a:endCxn id="157" idx="4"/>
              </p:cNvCxnSpPr>
              <p:nvPr/>
            </p:nvCxnSpPr>
            <p:spPr>
              <a:xfrm>
                <a:off x="957285" y="2904929"/>
                <a:ext cx="4974941" cy="1144549"/>
              </a:xfrm>
              <a:prstGeom prst="straightConnector1">
                <a:avLst/>
              </a:prstGeom>
              <a:ln w="12700">
                <a:solidFill>
                  <a:schemeClr val="accent1">
                    <a:lumMod val="50000"/>
                  </a:schemeClr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63" name="Oval 128"/>
              <p:cNvSpPr>
                <a:spLocks noChangeArrowheads="1"/>
              </p:cNvSpPr>
              <p:nvPr/>
            </p:nvSpPr>
            <p:spPr bwMode="gray">
              <a:xfrm>
                <a:off x="5803181" y="4156154"/>
                <a:ext cx="83344" cy="83344"/>
              </a:xfrm>
              <a:prstGeom prst="ellipse">
                <a:avLst/>
              </a:prstGeom>
              <a:solidFill>
                <a:srgbClr val="3366FF"/>
              </a:solidFill>
              <a:ln w="9525" algn="ctr">
                <a:noFill/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zh-CN" altLang="en-US"/>
              </a:p>
            </p:txBody>
          </p:sp>
          <p:sp>
            <p:nvSpPr>
              <p:cNvPr id="64" name="文本框 63"/>
              <p:cNvSpPr txBox="1"/>
              <p:nvPr/>
            </p:nvSpPr>
            <p:spPr>
              <a:xfrm>
                <a:off x="2954034" y="5032619"/>
                <a:ext cx="2227034" cy="542479"/>
              </a:xfrm>
              <a:prstGeom prst="rect">
                <a:avLst/>
              </a:prstGeom>
              <a:solidFill>
                <a:srgbClr val="0984B9"/>
              </a:solidFill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CN" sz="1100" dirty="0" err="1">
                    <a:solidFill>
                      <a:schemeClr val="bg1"/>
                    </a:solidFill>
                    <a:latin typeface="Segoe UI Light" panose="020B0502040204020203" pitchFamily="34" charset="0"/>
                    <a:ea typeface="Segoe UI" panose="020B0502040204020203" pitchFamily="34" charset="0"/>
                    <a:cs typeface="Segoe UI" panose="020B0502040204020203" pitchFamily="34" charset="0"/>
                  </a:rPr>
                  <a:t>Balingian</a:t>
                </a:r>
                <a:r>
                  <a:rPr lang="en-US" altLang="zh-CN" sz="1100" dirty="0">
                    <a:solidFill>
                      <a:schemeClr val="bg1"/>
                    </a:solidFill>
                    <a:latin typeface="Segoe UI Light" panose="020B0502040204020203" pitchFamily="34" charset="0"/>
                    <a:ea typeface="Segoe UI" panose="020B0502040204020203" pitchFamily="34" charset="0"/>
                    <a:cs typeface="Segoe UI" panose="020B0502040204020203" pitchFamily="34" charset="0"/>
                  </a:rPr>
                  <a:t>, Malaysia</a:t>
                </a:r>
              </a:p>
              <a:p>
                <a:pPr algn="ctr"/>
                <a:r>
                  <a:rPr lang="en-US" altLang="zh-CN" sz="1100" dirty="0">
                    <a:solidFill>
                      <a:schemeClr val="bg1"/>
                    </a:solidFill>
                    <a:latin typeface="Segoe UI Light" panose="020B0502040204020203" pitchFamily="34" charset="0"/>
                    <a:ea typeface="Segoe UI" panose="020B0502040204020203" pitchFamily="34" charset="0"/>
                    <a:cs typeface="Segoe UI" panose="020B0502040204020203" pitchFamily="34" charset="0"/>
                  </a:rPr>
                  <a:t>Industrial Effluent</a:t>
                </a:r>
                <a:r>
                  <a:rPr lang="zh-CN" altLang="en-US" sz="1100" dirty="0">
                    <a:solidFill>
                      <a:schemeClr val="bg1"/>
                    </a:solidFill>
                    <a:latin typeface="Segoe UI Light" panose="020B0502040204020203" pitchFamily="34" charset="0"/>
                    <a:ea typeface="Segoe UI" panose="020B0502040204020203" pitchFamily="34" charset="0"/>
                    <a:cs typeface="Segoe UI" panose="020B0502040204020203" pitchFamily="34" charset="0"/>
                  </a:rPr>
                  <a:t> </a:t>
                </a:r>
                <a:r>
                  <a:rPr lang="en-US" altLang="zh-CN" sz="1100" dirty="0">
                    <a:solidFill>
                      <a:schemeClr val="bg1"/>
                    </a:solidFill>
                    <a:latin typeface="Segoe UI Light" panose="020B0502040204020203" pitchFamily="34" charset="0"/>
                    <a:ea typeface="Segoe UI" panose="020B0502040204020203" pitchFamily="34" charset="0"/>
                    <a:cs typeface="Segoe UI" panose="020B0502040204020203" pitchFamily="34" charset="0"/>
                  </a:rPr>
                  <a:t>-</a:t>
                </a:r>
                <a:r>
                  <a:rPr lang="zh-CN" altLang="en-US" sz="1100" dirty="0">
                    <a:solidFill>
                      <a:schemeClr val="bg1"/>
                    </a:solidFill>
                    <a:latin typeface="Segoe UI Light" panose="020B0502040204020203" pitchFamily="34" charset="0"/>
                    <a:ea typeface="Segoe UI" panose="020B0502040204020203" pitchFamily="34" charset="0"/>
                    <a:cs typeface="Segoe UI" panose="020B0502040204020203" pitchFamily="34" charset="0"/>
                  </a:rPr>
                  <a:t> </a:t>
                </a:r>
                <a:r>
                  <a:rPr lang="en-US" altLang="zh-CN" sz="1100" dirty="0">
                    <a:solidFill>
                      <a:schemeClr val="bg1"/>
                    </a:solidFill>
                    <a:latin typeface="Segoe UI Light" panose="020B0502040204020203" pitchFamily="34" charset="0"/>
                    <a:ea typeface="Segoe UI" panose="020B0502040204020203" pitchFamily="34" charset="0"/>
                    <a:cs typeface="Segoe UI" panose="020B0502040204020203" pitchFamily="34" charset="0"/>
                  </a:rPr>
                  <a:t>6240</a:t>
                </a:r>
                <a:r>
                  <a:rPr lang="zh-CN" altLang="en-US" sz="1100" dirty="0">
                    <a:solidFill>
                      <a:schemeClr val="bg1"/>
                    </a:solidFill>
                    <a:latin typeface="Segoe UI Light" panose="020B0502040204020203" pitchFamily="34" charset="0"/>
                    <a:ea typeface="Segoe UI" panose="020B0502040204020203" pitchFamily="34" charset="0"/>
                    <a:cs typeface="Segoe UI" panose="020B0502040204020203" pitchFamily="34" charset="0"/>
                  </a:rPr>
                  <a:t> </a:t>
                </a:r>
                <a:r>
                  <a:rPr lang="en-US" altLang="zh-CN" sz="1100" dirty="0">
                    <a:solidFill>
                      <a:schemeClr val="bg1"/>
                    </a:solidFill>
                    <a:latin typeface="Segoe UI Light" panose="020B0502040204020203" pitchFamily="34" charset="0"/>
                    <a:ea typeface="Segoe UI" panose="020B0502040204020203" pitchFamily="34" charset="0"/>
                    <a:cs typeface="Segoe UI" panose="020B0502040204020203" pitchFamily="34" charset="0"/>
                  </a:rPr>
                  <a:t>t/d</a:t>
                </a:r>
              </a:p>
              <a:p>
                <a:pPr algn="ctr"/>
                <a:r>
                  <a:rPr lang="en-US" altLang="zh-CN" sz="1100" dirty="0">
                    <a:solidFill>
                      <a:schemeClr val="bg1"/>
                    </a:solidFill>
                    <a:latin typeface="Segoe UI Light" panose="020B0502040204020203" pitchFamily="34" charset="0"/>
                    <a:ea typeface="Segoe UI" panose="020B0502040204020203" pitchFamily="34" charset="0"/>
                    <a:cs typeface="Segoe UI" panose="020B0502040204020203" pitchFamily="34" charset="0"/>
                  </a:rPr>
                  <a:t>Desalted</a:t>
                </a:r>
                <a:r>
                  <a:rPr lang="zh-CN" altLang="en-US" sz="1100" dirty="0">
                    <a:solidFill>
                      <a:schemeClr val="bg1"/>
                    </a:solidFill>
                    <a:latin typeface="Segoe UI Light" panose="020B0502040204020203" pitchFamily="34" charset="0"/>
                    <a:ea typeface="Segoe UI" panose="020B0502040204020203" pitchFamily="34" charset="0"/>
                    <a:cs typeface="Segoe UI" panose="020B0502040204020203" pitchFamily="34" charset="0"/>
                  </a:rPr>
                  <a:t> </a:t>
                </a:r>
                <a:r>
                  <a:rPr lang="en-US" altLang="zh-CN" sz="1100" dirty="0">
                    <a:solidFill>
                      <a:schemeClr val="bg1"/>
                    </a:solidFill>
                    <a:latin typeface="Segoe UI Light" panose="020B0502040204020203" pitchFamily="34" charset="0"/>
                    <a:ea typeface="Segoe UI" panose="020B0502040204020203" pitchFamily="34" charset="0"/>
                    <a:cs typeface="Segoe UI" panose="020B0502040204020203" pitchFamily="34" charset="0"/>
                  </a:rPr>
                  <a:t>Water</a:t>
                </a:r>
                <a:r>
                  <a:rPr lang="zh-CN" altLang="en-US" sz="1100" dirty="0">
                    <a:solidFill>
                      <a:schemeClr val="bg1"/>
                    </a:solidFill>
                    <a:latin typeface="Segoe UI Light" panose="020B0502040204020203" pitchFamily="34" charset="0"/>
                    <a:ea typeface="Segoe UI" panose="020B0502040204020203" pitchFamily="34" charset="0"/>
                    <a:cs typeface="Segoe UI" panose="020B0502040204020203" pitchFamily="34" charset="0"/>
                  </a:rPr>
                  <a:t> </a:t>
                </a:r>
                <a:r>
                  <a:rPr lang="en-US" altLang="zh-CN" sz="1100" dirty="0">
                    <a:solidFill>
                      <a:schemeClr val="bg1"/>
                    </a:solidFill>
                    <a:latin typeface="Segoe UI Light" panose="020B0502040204020203" pitchFamily="34" charset="0"/>
                    <a:ea typeface="Segoe UI" panose="020B0502040204020203" pitchFamily="34" charset="0"/>
                    <a:cs typeface="Segoe UI" panose="020B0502040204020203" pitchFamily="34" charset="0"/>
                  </a:rPr>
                  <a:t>-</a:t>
                </a:r>
                <a:r>
                  <a:rPr lang="zh-CN" altLang="en-US" sz="1100" dirty="0">
                    <a:solidFill>
                      <a:schemeClr val="bg1"/>
                    </a:solidFill>
                    <a:latin typeface="Segoe UI Light" panose="020B0502040204020203" pitchFamily="34" charset="0"/>
                    <a:ea typeface="Segoe UI" panose="020B0502040204020203" pitchFamily="34" charset="0"/>
                    <a:cs typeface="Segoe UI" panose="020B0502040204020203" pitchFamily="34" charset="0"/>
                  </a:rPr>
                  <a:t> </a:t>
                </a:r>
                <a:r>
                  <a:rPr lang="en-US" altLang="zh-CN" sz="1100" dirty="0">
                    <a:solidFill>
                      <a:schemeClr val="bg1"/>
                    </a:solidFill>
                    <a:latin typeface="Segoe UI Light" panose="020B0502040204020203" pitchFamily="34" charset="0"/>
                    <a:ea typeface="Segoe UI" panose="020B0502040204020203" pitchFamily="34" charset="0"/>
                    <a:cs typeface="Segoe UI" panose="020B0502040204020203" pitchFamily="34" charset="0"/>
                  </a:rPr>
                  <a:t>3312</a:t>
                </a:r>
                <a:r>
                  <a:rPr lang="zh-CN" altLang="en-US" sz="1100" dirty="0">
                    <a:solidFill>
                      <a:schemeClr val="bg1"/>
                    </a:solidFill>
                    <a:latin typeface="Segoe UI Light" panose="020B0502040204020203" pitchFamily="34" charset="0"/>
                    <a:ea typeface="Segoe UI" panose="020B0502040204020203" pitchFamily="34" charset="0"/>
                    <a:cs typeface="Segoe UI" panose="020B0502040204020203" pitchFamily="34" charset="0"/>
                  </a:rPr>
                  <a:t> </a:t>
                </a:r>
                <a:r>
                  <a:rPr lang="en-US" altLang="zh-CN" sz="1100" dirty="0">
                    <a:solidFill>
                      <a:schemeClr val="bg1"/>
                    </a:solidFill>
                    <a:latin typeface="Segoe UI Light" panose="020B0502040204020203" pitchFamily="34" charset="0"/>
                    <a:ea typeface="Segoe UI" panose="020B0502040204020203" pitchFamily="34" charset="0"/>
                    <a:cs typeface="Segoe UI" panose="020B0502040204020203" pitchFamily="34" charset="0"/>
                  </a:rPr>
                  <a:t>t/d</a:t>
                </a:r>
              </a:p>
            </p:txBody>
          </p:sp>
          <p:cxnSp>
            <p:nvCxnSpPr>
              <p:cNvPr id="65" name="直接箭头连接符 64"/>
              <p:cNvCxnSpPr>
                <a:stCxn id="64" idx="0"/>
                <a:endCxn id="63" idx="3"/>
              </p:cNvCxnSpPr>
              <p:nvPr/>
            </p:nvCxnSpPr>
            <p:spPr>
              <a:xfrm flipV="1">
                <a:off x="4067551" y="4227294"/>
                <a:ext cx="1747835" cy="805326"/>
              </a:xfrm>
              <a:prstGeom prst="straightConnector1">
                <a:avLst/>
              </a:prstGeom>
              <a:ln w="12700">
                <a:solidFill>
                  <a:schemeClr val="accent1">
                    <a:lumMod val="50000"/>
                  </a:schemeClr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66" name="文本框 65"/>
              <p:cNvSpPr txBox="1"/>
              <p:nvPr/>
            </p:nvSpPr>
            <p:spPr>
              <a:xfrm>
                <a:off x="944503" y="5180847"/>
                <a:ext cx="1637018" cy="361653"/>
              </a:xfrm>
              <a:prstGeom prst="rect">
                <a:avLst/>
              </a:prstGeom>
              <a:solidFill>
                <a:srgbClr val="0984B9"/>
              </a:solidFill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CN" sz="1000" dirty="0">
                    <a:solidFill>
                      <a:schemeClr val="bg1"/>
                    </a:solidFill>
                    <a:latin typeface="Segoe UI Light" panose="020B0502040204020203" pitchFamily="34" charset="0"/>
                    <a:ea typeface="Segoe UI" panose="020B0502040204020203" pitchFamily="34" charset="0"/>
                    <a:cs typeface="Segoe UI" panose="020B0502040204020203" pitchFamily="34" charset="0"/>
                  </a:rPr>
                  <a:t>Medan, Indonesia</a:t>
                </a:r>
              </a:p>
              <a:p>
                <a:pPr algn="ctr"/>
                <a:r>
                  <a:rPr lang="en-US" altLang="zh-CN" sz="1000" dirty="0">
                    <a:solidFill>
                      <a:schemeClr val="bg1"/>
                    </a:solidFill>
                    <a:latin typeface="Segoe UI Light" panose="020B0502040204020203" pitchFamily="34" charset="0"/>
                    <a:ea typeface="Segoe UI" panose="020B0502040204020203" pitchFamily="34" charset="0"/>
                    <a:cs typeface="Segoe UI" panose="020B0502040204020203" pitchFamily="34" charset="0"/>
                  </a:rPr>
                  <a:t>RO - 6552 t/d</a:t>
                </a:r>
              </a:p>
            </p:txBody>
          </p:sp>
          <p:sp>
            <p:nvSpPr>
              <p:cNvPr id="67" name="Oval 128"/>
              <p:cNvSpPr>
                <a:spLocks noChangeArrowheads="1"/>
              </p:cNvSpPr>
              <p:nvPr/>
            </p:nvSpPr>
            <p:spPr bwMode="gray">
              <a:xfrm>
                <a:off x="5625301" y="4084524"/>
                <a:ext cx="83344" cy="83344"/>
              </a:xfrm>
              <a:prstGeom prst="ellipse">
                <a:avLst/>
              </a:prstGeom>
              <a:solidFill>
                <a:srgbClr val="3366FF"/>
              </a:solidFill>
              <a:ln w="9525" algn="ctr">
                <a:noFill/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zh-CN" altLang="en-US"/>
              </a:p>
            </p:txBody>
          </p:sp>
          <p:cxnSp>
            <p:nvCxnSpPr>
              <p:cNvPr id="68" name="直接箭头连接符 67"/>
              <p:cNvCxnSpPr>
                <a:stCxn id="66" idx="0"/>
                <a:endCxn id="67" idx="3"/>
              </p:cNvCxnSpPr>
              <p:nvPr/>
            </p:nvCxnSpPr>
            <p:spPr>
              <a:xfrm flipV="1">
                <a:off x="1763012" y="4155664"/>
                <a:ext cx="3874494" cy="1025184"/>
              </a:xfrm>
              <a:prstGeom prst="straightConnector1">
                <a:avLst/>
              </a:prstGeom>
              <a:ln w="12700">
                <a:solidFill>
                  <a:schemeClr val="accent1">
                    <a:lumMod val="50000"/>
                  </a:schemeClr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9" name="直接箭头连接符 68"/>
              <p:cNvCxnSpPr>
                <a:endCxn id="38" idx="0"/>
              </p:cNvCxnSpPr>
              <p:nvPr/>
            </p:nvCxnSpPr>
            <p:spPr>
              <a:xfrm flipH="1">
                <a:off x="5868428" y="3009095"/>
                <a:ext cx="1125598" cy="398494"/>
              </a:xfrm>
              <a:prstGeom prst="straightConnector1">
                <a:avLst/>
              </a:prstGeom>
              <a:ln w="12700">
                <a:solidFill>
                  <a:schemeClr val="accent1">
                    <a:lumMod val="50000"/>
                  </a:schemeClr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71" name="文本框 70"/>
              <p:cNvSpPr txBox="1"/>
              <p:nvPr/>
            </p:nvSpPr>
            <p:spPr>
              <a:xfrm>
                <a:off x="7034987" y="3423039"/>
                <a:ext cx="2082920" cy="361653"/>
              </a:xfrm>
              <a:prstGeom prst="rect">
                <a:avLst/>
              </a:prstGeom>
              <a:solidFill>
                <a:srgbClr val="2EAD41"/>
              </a:solidFill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CN" sz="1000" dirty="0" err="1">
                    <a:solidFill>
                      <a:schemeClr val="bg1"/>
                    </a:solidFill>
                    <a:latin typeface="Segoe UI Light" panose="020B0502040204020203" pitchFamily="34" charset="0"/>
                    <a:ea typeface="Segoe UI" panose="020B0502040204020203" pitchFamily="34" charset="0"/>
                    <a:cs typeface="Segoe UI" panose="020B0502040204020203" pitchFamily="34" charset="0"/>
                  </a:rPr>
                  <a:t>Baosteel</a:t>
                </a:r>
                <a:r>
                  <a:rPr lang="en-US" altLang="zh-CN" sz="1000" dirty="0">
                    <a:solidFill>
                      <a:schemeClr val="bg1"/>
                    </a:solidFill>
                    <a:latin typeface="Segoe UI Light" panose="020B0502040204020203" pitchFamily="34" charset="0"/>
                    <a:ea typeface="Segoe UI" panose="020B0502040204020203" pitchFamily="34" charset="0"/>
                    <a:cs typeface="Segoe UI" panose="020B0502040204020203" pitchFamily="34" charset="0"/>
                  </a:rPr>
                  <a:t>, Zhanjiang</a:t>
                </a:r>
              </a:p>
              <a:p>
                <a:pPr algn="ctr"/>
                <a:r>
                  <a:rPr lang="en-US" altLang="zh-CN" sz="1000" dirty="0">
                    <a:solidFill>
                      <a:schemeClr val="bg1"/>
                    </a:solidFill>
                    <a:latin typeface="Segoe UI Light" panose="020B0502040204020203" pitchFamily="34" charset="0"/>
                    <a:ea typeface="Segoe UI" panose="020B0502040204020203" pitchFamily="34" charset="0"/>
                    <a:cs typeface="Segoe UI" panose="020B0502040204020203" pitchFamily="34" charset="0"/>
                  </a:rPr>
                  <a:t>MED</a:t>
                </a:r>
                <a:r>
                  <a:rPr lang="zh-CN" altLang="en-US" sz="1000" dirty="0">
                    <a:solidFill>
                      <a:schemeClr val="bg1"/>
                    </a:solidFill>
                    <a:latin typeface="Segoe UI Light" panose="020B0502040204020203" pitchFamily="34" charset="0"/>
                    <a:ea typeface="Segoe UI" panose="020B0502040204020203" pitchFamily="34" charset="0"/>
                    <a:cs typeface="Segoe UI" panose="020B0502040204020203" pitchFamily="34" charset="0"/>
                  </a:rPr>
                  <a:t> </a:t>
                </a:r>
                <a:r>
                  <a:rPr lang="en-US" altLang="zh-CN" sz="1000" dirty="0">
                    <a:solidFill>
                      <a:schemeClr val="bg1"/>
                    </a:solidFill>
                    <a:latin typeface="Segoe UI Light" panose="020B0502040204020203" pitchFamily="34" charset="0"/>
                    <a:ea typeface="Segoe UI" panose="020B0502040204020203" pitchFamily="34" charset="0"/>
                    <a:cs typeface="Segoe UI" panose="020B0502040204020203" pitchFamily="34" charset="0"/>
                  </a:rPr>
                  <a:t>-</a:t>
                </a:r>
                <a:r>
                  <a:rPr lang="zh-CN" altLang="en-US" sz="1000" dirty="0">
                    <a:solidFill>
                      <a:schemeClr val="bg1"/>
                    </a:solidFill>
                    <a:latin typeface="Segoe UI Light" panose="020B0502040204020203" pitchFamily="34" charset="0"/>
                    <a:ea typeface="Segoe UI" panose="020B0502040204020203" pitchFamily="34" charset="0"/>
                    <a:cs typeface="Segoe UI" panose="020B0502040204020203" pitchFamily="34" charset="0"/>
                  </a:rPr>
                  <a:t> </a:t>
                </a:r>
                <a:r>
                  <a:rPr lang="en-US" altLang="zh-CN" sz="1000" dirty="0">
                    <a:solidFill>
                      <a:schemeClr val="bg1"/>
                    </a:solidFill>
                    <a:latin typeface="Segoe UI Light" panose="020B0502040204020203" pitchFamily="34" charset="0"/>
                    <a:ea typeface="Segoe UI" panose="020B0502040204020203" pitchFamily="34" charset="0"/>
                    <a:cs typeface="Segoe UI" panose="020B0502040204020203" pitchFamily="34" charset="0"/>
                  </a:rPr>
                  <a:t>30000 t/d, EPC</a:t>
                </a:r>
              </a:p>
            </p:txBody>
          </p:sp>
        </p:grpSp>
        <p:sp>
          <p:nvSpPr>
            <p:cNvPr id="206" name="Oval 127"/>
            <p:cNvSpPr>
              <a:spLocks noChangeArrowheads="1"/>
            </p:cNvSpPr>
            <p:nvPr/>
          </p:nvSpPr>
          <p:spPr bwMode="gray">
            <a:xfrm>
              <a:off x="7108884" y="4915291"/>
              <a:ext cx="94409" cy="94409"/>
            </a:xfrm>
            <a:prstGeom prst="ellipse">
              <a:avLst/>
            </a:prstGeom>
            <a:solidFill>
              <a:srgbClr val="2EAD41"/>
            </a:solidFill>
            <a:ln w="9525" algn="ctr">
              <a:noFill/>
              <a:round/>
              <a:headEnd/>
              <a:tailEnd/>
            </a:ln>
          </p:spPr>
          <p:txBody>
            <a:bodyPr wrap="none" anchor="ctr"/>
            <a:lstStyle/>
            <a:p>
              <a:endParaRPr lang="zh-CN" altLang="en-US"/>
            </a:p>
          </p:txBody>
        </p:sp>
        <p:sp>
          <p:nvSpPr>
            <p:cNvPr id="207" name="文本框 206"/>
            <p:cNvSpPr txBox="1"/>
            <p:nvPr/>
          </p:nvSpPr>
          <p:spPr>
            <a:xfrm>
              <a:off x="6274727" y="5970722"/>
              <a:ext cx="1810946" cy="409669"/>
            </a:xfrm>
            <a:prstGeom prst="rect">
              <a:avLst/>
            </a:prstGeom>
            <a:solidFill>
              <a:srgbClr val="2EAD41"/>
            </a:solidFill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CN" sz="1000" dirty="0">
                  <a:solidFill>
                    <a:srgbClr val="FF0000"/>
                  </a:solidFill>
                  <a:latin typeface="Segoe UI Light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PMB, Brunei</a:t>
              </a:r>
            </a:p>
            <a:p>
              <a:pPr algn="ctr"/>
              <a:r>
                <a:rPr lang="en-US" altLang="zh-CN" sz="1000" dirty="0">
                  <a:solidFill>
                    <a:srgbClr val="FF0000"/>
                  </a:solidFill>
                  <a:latin typeface="Segoe UI Light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MED - 37500 t/d</a:t>
              </a:r>
            </a:p>
          </p:txBody>
        </p:sp>
        <p:cxnSp>
          <p:nvCxnSpPr>
            <p:cNvPr id="208" name="直接箭头连接符 207"/>
            <p:cNvCxnSpPr/>
            <p:nvPr/>
          </p:nvCxnSpPr>
          <p:spPr>
            <a:xfrm flipV="1">
              <a:off x="6947079" y="5003167"/>
              <a:ext cx="198343" cy="966358"/>
            </a:xfrm>
            <a:prstGeom prst="straightConnector1">
              <a:avLst/>
            </a:prstGeom>
            <a:ln w="12700">
              <a:solidFill>
                <a:schemeClr val="accent1">
                  <a:lumMod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9" name="Oval 127"/>
            <p:cNvSpPr>
              <a:spLocks noChangeArrowheads="1"/>
            </p:cNvSpPr>
            <p:nvPr/>
          </p:nvSpPr>
          <p:spPr bwMode="gray">
            <a:xfrm>
              <a:off x="6889491" y="3882416"/>
              <a:ext cx="94409" cy="94409"/>
            </a:xfrm>
            <a:prstGeom prst="ellipse">
              <a:avLst/>
            </a:prstGeom>
            <a:solidFill>
              <a:srgbClr val="2EAD41"/>
            </a:solidFill>
            <a:ln w="9525" algn="ctr">
              <a:noFill/>
              <a:round/>
              <a:headEnd/>
              <a:tailEnd/>
            </a:ln>
          </p:spPr>
          <p:txBody>
            <a:bodyPr wrap="none" anchor="ctr"/>
            <a:lstStyle/>
            <a:p>
              <a:endParaRPr lang="zh-CN" altLang="en-US"/>
            </a:p>
          </p:txBody>
        </p:sp>
        <p:sp>
          <p:nvSpPr>
            <p:cNvPr id="210" name="文本框 209"/>
            <p:cNvSpPr txBox="1"/>
            <p:nvPr/>
          </p:nvSpPr>
          <p:spPr>
            <a:xfrm>
              <a:off x="6452030" y="2414583"/>
              <a:ext cx="1691731" cy="567234"/>
            </a:xfrm>
            <a:prstGeom prst="rect">
              <a:avLst/>
            </a:prstGeom>
            <a:solidFill>
              <a:srgbClr val="2EAD41"/>
            </a:solidFill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CN" sz="1000" dirty="0">
                  <a:solidFill>
                    <a:schemeClr val="bg1"/>
                  </a:solidFill>
                  <a:latin typeface="Segoe UI Light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Qinhuangdao,</a:t>
              </a:r>
              <a:r>
                <a:rPr lang="zh-CN" altLang="en-US" sz="1000" dirty="0">
                  <a:solidFill>
                    <a:schemeClr val="bg1"/>
                  </a:solidFill>
                  <a:latin typeface="Segoe UI Light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 </a:t>
              </a:r>
              <a:r>
                <a:rPr lang="en-US" altLang="zh-CN" sz="1000" dirty="0">
                  <a:solidFill>
                    <a:schemeClr val="bg1"/>
                  </a:solidFill>
                  <a:latin typeface="Segoe UI Light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Hebei</a:t>
              </a:r>
            </a:p>
            <a:p>
              <a:pPr algn="ctr"/>
              <a:r>
                <a:rPr lang="zh-CN" altLang="en-US" sz="1000" dirty="0">
                  <a:solidFill>
                    <a:schemeClr val="bg1"/>
                  </a:solidFill>
                  <a:latin typeface="Segoe UI Light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 </a:t>
              </a:r>
              <a:r>
                <a:rPr lang="en-US" altLang="zh-CN" sz="1000" dirty="0">
                  <a:solidFill>
                    <a:schemeClr val="bg1"/>
                  </a:solidFill>
                  <a:latin typeface="Segoe UI Light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MED- 6000 t/d</a:t>
              </a:r>
              <a:endParaRPr lang="zh-CN" altLang="en-US" sz="1000" dirty="0">
                <a:solidFill>
                  <a:schemeClr val="bg1"/>
                </a:solidFill>
                <a:latin typeface="Segoe UI Light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cxnSp>
          <p:nvCxnSpPr>
            <p:cNvPr id="212" name="直接箭头连接符 211"/>
            <p:cNvCxnSpPr>
              <a:stCxn id="210" idx="2"/>
              <a:endCxn id="209" idx="7"/>
            </p:cNvCxnSpPr>
            <p:nvPr/>
          </p:nvCxnSpPr>
          <p:spPr>
            <a:xfrm flipH="1">
              <a:off x="6970075" y="2981817"/>
              <a:ext cx="327820" cy="914424"/>
            </a:xfrm>
            <a:prstGeom prst="straightConnector1">
              <a:avLst/>
            </a:prstGeom>
            <a:ln w="12700">
              <a:solidFill>
                <a:schemeClr val="accent1">
                  <a:lumMod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14" name="矩形 213"/>
          <p:cNvSpPr/>
          <p:nvPr/>
        </p:nvSpPr>
        <p:spPr>
          <a:xfrm>
            <a:off x="1048082" y="4176807"/>
            <a:ext cx="4384015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895350">
              <a:lnSpc>
                <a:spcPct val="150000"/>
              </a:lnSpc>
              <a:spcBef>
                <a:spcPct val="0"/>
              </a:spcBef>
              <a:buClr>
                <a:schemeClr val="tx2"/>
              </a:buClr>
              <a:buSzPct val="120000"/>
              <a:tabLst>
                <a:tab pos="0" algn="l"/>
              </a:tabLst>
            </a:pPr>
            <a:r>
              <a:rPr lang="en-US" altLang="zh-CN" sz="1400" b="1" dirty="0" smtClean="0">
                <a:latin typeface="Segoe UI Light" panose="020B0502040204020203" pitchFamily="34" charset="0"/>
                <a:cs typeface="Segoe UI Light" panose="020B0502040204020203" pitchFamily="34" charset="0"/>
              </a:rPr>
              <a:t>- Largest</a:t>
            </a:r>
            <a:r>
              <a:rPr lang="en-US" altLang="zh-CN" sz="1400" dirty="0" smtClean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altLang="zh-CN" sz="1400" dirty="0" err="1" smtClean="0">
                <a:latin typeface="Segoe UI Light" panose="020B0502040204020203" pitchFamily="34" charset="0"/>
                <a:cs typeface="Segoe UI Light" panose="020B0502040204020203" pitchFamily="34" charset="0"/>
              </a:rPr>
              <a:t>Intergrated</a:t>
            </a:r>
            <a:r>
              <a:rPr lang="en-US" altLang="zh-CN" sz="1400" dirty="0" smtClean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altLang="zh-CN" sz="1400" dirty="0">
                <a:latin typeface="Segoe UI Light" panose="020B0502040204020203" pitchFamily="34" charset="0"/>
                <a:cs typeface="Segoe UI Light" panose="020B0502040204020203" pitchFamily="34" charset="0"/>
              </a:rPr>
              <a:t>MED </a:t>
            </a:r>
            <a:r>
              <a:rPr lang="en-US" altLang="zh-CN" sz="1400" dirty="0" smtClean="0">
                <a:latin typeface="Segoe UI Light" panose="020B0502040204020203" pitchFamily="34" charset="0"/>
                <a:cs typeface="Segoe UI Light" panose="020B0502040204020203" pitchFamily="34" charset="0"/>
              </a:rPr>
              <a:t>Manufacture in China</a:t>
            </a:r>
            <a:endParaRPr lang="en-US" altLang="zh-CN" sz="1400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  <a:p>
            <a:pPr defTabSz="895350">
              <a:lnSpc>
                <a:spcPct val="150000"/>
              </a:lnSpc>
              <a:spcBef>
                <a:spcPct val="0"/>
              </a:spcBef>
              <a:buClr>
                <a:schemeClr val="tx2"/>
              </a:buClr>
              <a:buSzPct val="120000"/>
              <a:tabLst>
                <a:tab pos="0" algn="l"/>
              </a:tabLst>
            </a:pPr>
            <a:r>
              <a:rPr lang="en-US" altLang="zh-CN" sz="1400" b="1" dirty="0" smtClean="0">
                <a:latin typeface="Segoe UI Light" panose="020B0502040204020203" pitchFamily="34" charset="0"/>
                <a:cs typeface="Segoe UI Light" panose="020B0502040204020203" pitchFamily="34" charset="0"/>
              </a:rPr>
              <a:t>- First </a:t>
            </a:r>
            <a:r>
              <a:rPr lang="en-US" altLang="zh-CN" sz="1400" dirty="0" smtClean="0">
                <a:latin typeface="Segoe UI Light" panose="020B0502040204020203" pitchFamily="34" charset="0"/>
                <a:cs typeface="Segoe UI Light" panose="020B0502040204020203" pitchFamily="34" charset="0"/>
              </a:rPr>
              <a:t>ten thousand ton MED Project in China(2008)</a:t>
            </a:r>
          </a:p>
          <a:p>
            <a:pPr defTabSz="895350">
              <a:lnSpc>
                <a:spcPct val="150000"/>
              </a:lnSpc>
              <a:spcBef>
                <a:spcPct val="0"/>
              </a:spcBef>
              <a:buClr>
                <a:schemeClr val="tx2"/>
              </a:buClr>
              <a:buSzPct val="120000"/>
              <a:tabLst>
                <a:tab pos="0" algn="l"/>
              </a:tabLst>
            </a:pPr>
            <a:r>
              <a:rPr lang="en-US" altLang="zh-CN" sz="1400" b="1" dirty="0" smtClean="0">
                <a:latin typeface="Segoe UI Light" panose="020B0502040204020203" pitchFamily="34" charset="0"/>
                <a:cs typeface="Segoe UI Light" panose="020B0502040204020203" pitchFamily="34" charset="0"/>
              </a:rPr>
              <a:t>- First</a:t>
            </a:r>
            <a:r>
              <a:rPr lang="en-US" altLang="zh-CN" sz="1400" dirty="0" smtClean="0">
                <a:latin typeface="Segoe UI Light" panose="020B0502040204020203" pitchFamily="34" charset="0"/>
                <a:cs typeface="Segoe UI Light" panose="020B0502040204020203" pitchFamily="34" charset="0"/>
              </a:rPr>
              <a:t> MED EPC Project in China(2013)</a:t>
            </a:r>
          </a:p>
          <a:p>
            <a:pPr defTabSz="895350">
              <a:lnSpc>
                <a:spcPct val="150000"/>
              </a:lnSpc>
              <a:spcBef>
                <a:spcPct val="0"/>
              </a:spcBef>
              <a:buClr>
                <a:schemeClr val="tx2"/>
              </a:buClr>
              <a:buSzPct val="120000"/>
              <a:tabLst>
                <a:tab pos="0" algn="l"/>
              </a:tabLst>
            </a:pPr>
            <a:r>
              <a:rPr lang="en-US" altLang="zh-CN" sz="1400" b="1" dirty="0" smtClean="0">
                <a:latin typeface="Segoe UI Light" panose="020B0502040204020203" pitchFamily="34" charset="0"/>
                <a:cs typeface="Segoe UI Light" panose="020B0502040204020203" pitchFamily="34" charset="0"/>
              </a:rPr>
              <a:t>- First </a:t>
            </a:r>
            <a:r>
              <a:rPr lang="en-US" altLang="zh-CN" sz="1400" b="0" dirty="0" smtClean="0">
                <a:latin typeface="Segoe UI Light" panose="020B0502040204020203" pitchFamily="34" charset="0"/>
                <a:cs typeface="Segoe UI Light" panose="020B0502040204020203" pitchFamily="34" charset="0"/>
              </a:rPr>
              <a:t>oversea MED Project(2014)</a:t>
            </a:r>
          </a:p>
        </p:txBody>
      </p:sp>
      <p:sp>
        <p:nvSpPr>
          <p:cNvPr id="215" name="McK 5. Source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1107925" y="6108420"/>
            <a:ext cx="6862762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marL="609600" indent="-609600" algn="l" defTabSz="895350">
              <a:spcBef>
                <a:spcPct val="0"/>
              </a:spcBef>
              <a:tabLst>
                <a:tab pos="612775" algn="l"/>
              </a:tabLst>
            </a:pPr>
            <a:r>
              <a:rPr kumimoji="0" lang="en-US" altLang="zh-CN" sz="1000" b="1" dirty="0">
                <a:solidFill>
                  <a:srgbClr val="000000"/>
                </a:solidFill>
                <a:latin typeface="Segoe UI Light" panose="020B0502040204020203" pitchFamily="34" charset="0"/>
                <a:ea typeface="宋体" pitchFamily="2" charset="-122"/>
                <a:cs typeface="Segoe UI Light" panose="020B0502040204020203" pitchFamily="34" charset="0"/>
              </a:rPr>
              <a:t>SOURCE: </a:t>
            </a:r>
            <a:r>
              <a:rPr kumimoji="0" lang="en-US" altLang="zh-CN" sz="1000" b="0" dirty="0">
                <a:solidFill>
                  <a:srgbClr val="000000"/>
                </a:solidFill>
                <a:latin typeface="Segoe UI Light" panose="020B0502040204020203" pitchFamily="34" charset="0"/>
                <a:ea typeface="宋体" pitchFamily="2" charset="-122"/>
                <a:cs typeface="Segoe UI Light" panose="020B0502040204020203" pitchFamily="34" charset="0"/>
              </a:rPr>
              <a:t>SECPG </a:t>
            </a:r>
          </a:p>
        </p:txBody>
      </p:sp>
      <p:pic>
        <p:nvPicPr>
          <p:cNvPr id="216" name="内容占位符 2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01" r="10746"/>
          <a:stretch/>
        </p:blipFill>
        <p:spPr>
          <a:xfrm>
            <a:off x="1247146" y="2576782"/>
            <a:ext cx="2646024" cy="1519856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217" name="Rectangle 2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4447241" y="1980596"/>
            <a:ext cx="6239667" cy="37004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defPPr>
              <a:defRPr lang="zh-CN"/>
            </a:defPPr>
            <a:lvl1pPr algn="ctr" defTabSz="896112" fontAlgn="auto">
              <a:spcBef>
                <a:spcPct val="0"/>
              </a:spcBef>
              <a:spcAft>
                <a:spcPts val="0"/>
              </a:spcAft>
              <a:buNone/>
              <a:defRPr sz="2800" b="1">
                <a:solidFill>
                  <a:srgbClr val="0070C0"/>
                </a:solidFill>
                <a:latin typeface="+mj-lt"/>
                <a:ea typeface="宋体" pitchFamily="2" charset="-122"/>
                <a:cs typeface="+mj-cs"/>
              </a:defRPr>
            </a:lvl1pPr>
          </a:lstStyle>
          <a:p>
            <a:pPr algn="l"/>
            <a:r>
              <a:rPr lang="en-US" altLang="zh-CN" sz="1600" u="sng" dirty="0" smtClean="0">
                <a:solidFill>
                  <a:schemeClr val="tx1"/>
                </a:solidFill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MED/RO Experience in the World</a:t>
            </a:r>
            <a:endParaRPr lang="en-US" altLang="zh-CN" sz="1600" u="sng" dirty="0">
              <a:solidFill>
                <a:schemeClr val="tx1"/>
              </a:solidFill>
              <a:latin typeface="Segoe UI Light" panose="020B0502040204020203" pitchFamily="34" charset="0"/>
              <a:ea typeface="+mn-ea"/>
              <a:cs typeface="Segoe UI Light" panose="020B0502040204020203" pitchFamily="34" charset="0"/>
            </a:endParaRPr>
          </a:p>
        </p:txBody>
      </p:sp>
      <p:sp>
        <p:nvSpPr>
          <p:cNvPr id="211" name="Rectangle 2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-195281" y="554648"/>
            <a:ext cx="8165967" cy="54263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defPPr>
              <a:defRPr lang="zh-CN"/>
            </a:defPPr>
            <a:lvl1pPr algn="ctr" defTabSz="896112" fontAlgn="auto">
              <a:spcBef>
                <a:spcPct val="0"/>
              </a:spcBef>
              <a:spcAft>
                <a:spcPts val="0"/>
              </a:spcAft>
              <a:buNone/>
              <a:defRPr sz="2800" b="1">
                <a:solidFill>
                  <a:srgbClr val="0070C0"/>
                </a:solidFill>
                <a:latin typeface="+mj-lt"/>
                <a:ea typeface="宋体" pitchFamily="2" charset="-122"/>
                <a:cs typeface="+mj-cs"/>
              </a:defRPr>
            </a:lvl1pPr>
          </a:lstStyle>
          <a:p>
            <a:r>
              <a:rPr lang="en-US" altLang="zh-CN" dirty="0" smtClean="0">
                <a:latin typeface="Segoe UI Light" panose="020B0502040204020203" pitchFamily="34" charset="0"/>
              </a:rPr>
              <a:t>Project </a:t>
            </a:r>
            <a:r>
              <a:rPr lang="en-US" altLang="zh-CN" dirty="0">
                <a:latin typeface="Segoe UI Light" panose="020B0502040204020203" pitchFamily="34" charset="0"/>
              </a:rPr>
              <a:t>Case</a:t>
            </a:r>
            <a:r>
              <a:rPr lang="en-US" altLang="zh-CN" dirty="0" smtClean="0">
                <a:latin typeface="Segoe UI Light" panose="020B0502040204020203" pitchFamily="34" charset="0"/>
              </a:rPr>
              <a:t>: Other Fields – Water Treatment</a:t>
            </a:r>
            <a:endParaRPr lang="en-US" altLang="zh-CN" dirty="0">
              <a:latin typeface="Segoe UI Light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692101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A8CgEwie6ES1N75zUYhk.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A8CgEwie6ES1N75zUYhk.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lnIJxxq4S0iwlllv0vh8R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A8CgEwie6ES1N75zUYhk.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Ku9SY4Z_0unTaqP8mMVt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7g3NDiOx0eTkZIWybhV9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Ku9SY4Z_0unTaqP8mMVt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Ku9SY4Z_0unTaqP8mMVt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Ku9SY4Z_0unTaqP8mMVt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Ku9SY4Z_0unTaqP8mMVt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7g3NDiOx0eTkZIWybhV9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heme/theme1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DengXian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DengXian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12</TotalTime>
  <Words>683</Words>
  <Application>Microsoft Office PowerPoint</Application>
  <PresentationFormat>宽屏</PresentationFormat>
  <Paragraphs>163</Paragraphs>
  <Slides>11</Slides>
  <Notes>8</Notes>
  <HiddenSlides>0</HiddenSlides>
  <MMClips>0</MMClips>
  <ScaleCrop>false</ScaleCrop>
  <HeadingPairs>
    <vt:vector size="6" baseType="variant">
      <vt:variant>
        <vt:lpstr>已用的字体</vt:lpstr>
      </vt:variant>
      <vt:variant>
        <vt:i4>13</vt:i4>
      </vt:variant>
      <vt:variant>
        <vt:lpstr>主题</vt:lpstr>
      </vt:variant>
      <vt:variant>
        <vt:i4>1</vt:i4>
      </vt:variant>
      <vt:variant>
        <vt:lpstr>幻灯片标题</vt:lpstr>
      </vt:variant>
      <vt:variant>
        <vt:i4>11</vt:i4>
      </vt:variant>
    </vt:vector>
  </HeadingPairs>
  <TitlesOfParts>
    <vt:vector size="25" baseType="lpstr">
      <vt:lpstr>Roboto Th</vt:lpstr>
      <vt:lpstr>DengXian</vt:lpstr>
      <vt:lpstr>DengXian Light</vt:lpstr>
      <vt:lpstr>黑体</vt:lpstr>
      <vt:lpstr>宋体</vt:lpstr>
      <vt:lpstr>微软雅黑</vt:lpstr>
      <vt:lpstr>微软雅黑</vt:lpstr>
      <vt:lpstr>微软雅黑 Light</vt:lpstr>
      <vt:lpstr>Arial</vt:lpstr>
      <vt:lpstr>Calibri</vt:lpstr>
      <vt:lpstr>Segoe UI</vt:lpstr>
      <vt:lpstr>Segoe UI Light</vt:lpstr>
      <vt:lpstr>Wingdings</vt:lpstr>
      <vt:lpstr>Office 主题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bt515</dc:creator>
  <cp:lastModifiedBy>孟东海</cp:lastModifiedBy>
  <cp:revision>61</cp:revision>
  <dcterms:created xsi:type="dcterms:W3CDTF">2017-11-21T07:29:44Z</dcterms:created>
  <dcterms:modified xsi:type="dcterms:W3CDTF">2018-11-04T13:28:39Z</dcterms:modified>
</cp:coreProperties>
</file>